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4"/>
    <p:sldMasterId id="2147483997" r:id="rId5"/>
  </p:sldMasterIdLst>
  <p:notesMasterIdLst>
    <p:notesMasterId r:id="rId24"/>
  </p:notesMasterIdLst>
  <p:sldIdLst>
    <p:sldId id="2372" r:id="rId6"/>
    <p:sldId id="1482" r:id="rId7"/>
    <p:sldId id="2471" r:id="rId8"/>
    <p:sldId id="2470" r:id="rId9"/>
    <p:sldId id="2473" r:id="rId10"/>
    <p:sldId id="2477" r:id="rId11"/>
    <p:sldId id="2478" r:id="rId12"/>
    <p:sldId id="2481" r:id="rId13"/>
    <p:sldId id="2482" r:id="rId14"/>
    <p:sldId id="2489" r:id="rId15"/>
    <p:sldId id="2490" r:id="rId16"/>
    <p:sldId id="2485" r:id="rId17"/>
    <p:sldId id="2491" r:id="rId18"/>
    <p:sldId id="2492" r:id="rId19"/>
    <p:sldId id="2493" r:id="rId20"/>
    <p:sldId id="2494" r:id="rId21"/>
    <p:sldId id="2479" r:id="rId22"/>
    <p:sldId id="2408" r:id="rId23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D00"/>
    <a:srgbClr val="3F454F"/>
    <a:srgbClr val="17244F"/>
    <a:srgbClr val="00D9C3"/>
    <a:srgbClr val="D9D9D9"/>
    <a:srgbClr val="CF2027"/>
    <a:srgbClr val="4E4565"/>
    <a:srgbClr val="D399B8"/>
    <a:srgbClr val="FBAF1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C7853C-536D-4A76-A0AE-DD22124D55A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F175CE-F017-41C9-86EF-4BFE35886170}" type="doc">
      <dgm:prSet loTypeId="urn:microsoft.com/office/officeart/2005/8/layout/radial5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3AE0BB-766E-435B-B5BE-3C56D0F5D6C5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EC757F92-5A2B-40F4-8ED0-6963A0F3CD6D}" type="parTrans" cxnId="{21CF22EB-71AD-4785-9D64-21157BB8DF85}">
      <dgm:prSet/>
      <dgm:spPr/>
      <dgm:t>
        <a:bodyPr/>
        <a:lstStyle/>
        <a:p>
          <a:endParaRPr lang="en-US"/>
        </a:p>
      </dgm:t>
    </dgm:pt>
    <dgm:pt modelId="{EA5CE24C-AAD1-42D9-8FA0-E38BE9725528}" type="sibTrans" cxnId="{21CF22EB-71AD-4785-9D64-21157BB8DF85}">
      <dgm:prSet/>
      <dgm:spPr/>
      <dgm:t>
        <a:bodyPr/>
        <a:lstStyle/>
        <a:p>
          <a:endParaRPr lang="en-US"/>
        </a:p>
      </dgm:t>
    </dgm:pt>
    <dgm:pt modelId="{23129E71-446F-4105-9E94-658841571B6F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FE0F26D6-643B-48F6-B77E-C413E5458F68}" type="parTrans" cxnId="{5EF20C37-9C37-4724-B2ED-3A5174F25496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B15B9EB1-6103-4B52-AB4D-D3520E682361}" type="sibTrans" cxnId="{5EF20C37-9C37-4724-B2ED-3A5174F25496}">
      <dgm:prSet/>
      <dgm:spPr/>
      <dgm:t>
        <a:bodyPr/>
        <a:lstStyle/>
        <a:p>
          <a:endParaRPr lang="en-US"/>
        </a:p>
      </dgm:t>
    </dgm:pt>
    <dgm:pt modelId="{1344E396-347F-4E46-9070-AA57FAF834B6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0FB1CC71-C271-4CFB-A082-3ED1F2ECB1BE}" type="parTrans" cxnId="{8B33DACD-3879-4F01-9971-ABDB5CAFAD74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9019EBCB-3128-4917-A06B-9789CF780D7E}" type="sibTrans" cxnId="{8B33DACD-3879-4F01-9971-ABDB5CAFAD74}">
      <dgm:prSet/>
      <dgm:spPr/>
      <dgm:t>
        <a:bodyPr/>
        <a:lstStyle/>
        <a:p>
          <a:endParaRPr lang="en-US"/>
        </a:p>
      </dgm:t>
    </dgm:pt>
    <dgm:pt modelId="{7DA40721-A0EA-42D9-9352-E704DE99EECB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E25E65EC-345F-4F4F-A7AC-EEF17E26EFC1}" type="parTrans" cxnId="{9C4E6EF6-A93E-423B-B7A5-A39FD0327AD5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B7517512-0FE5-4197-B5C6-7C8E6C8BB6C1}" type="sibTrans" cxnId="{9C4E6EF6-A93E-423B-B7A5-A39FD0327AD5}">
      <dgm:prSet/>
      <dgm:spPr/>
      <dgm:t>
        <a:bodyPr/>
        <a:lstStyle/>
        <a:p>
          <a:endParaRPr lang="en-US"/>
        </a:p>
      </dgm:t>
    </dgm:pt>
    <dgm:pt modelId="{A485869B-2766-4A70-A46E-00BF15DF71E0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FBF859A4-E2E8-4C18-B92B-88CC2F32C38D}" type="parTrans" cxnId="{93586FDB-7DDB-4F0B-BF77-986E4E651B94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EBD13511-F756-4E05-84E3-27FD750C2ED7}" type="sibTrans" cxnId="{93586FDB-7DDB-4F0B-BF77-986E4E651B94}">
      <dgm:prSet/>
      <dgm:spPr/>
      <dgm:t>
        <a:bodyPr/>
        <a:lstStyle/>
        <a:p>
          <a:endParaRPr lang="en-US"/>
        </a:p>
      </dgm:t>
    </dgm:pt>
    <dgm:pt modelId="{211BC540-CF11-42E3-8BBD-187D92C1715F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51EB45C3-F05B-424E-A670-71D296B3AB3A}" type="parTrans" cxnId="{9F7E1AFC-9259-4296-9C6B-6DBEEDF3E8E7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A84F98D9-25B5-424F-9B6E-F342C31EFEC3}" type="sibTrans" cxnId="{9F7E1AFC-9259-4296-9C6B-6DBEEDF3E8E7}">
      <dgm:prSet/>
      <dgm:spPr/>
      <dgm:t>
        <a:bodyPr/>
        <a:lstStyle/>
        <a:p>
          <a:endParaRPr lang="en-US"/>
        </a:p>
      </dgm:t>
    </dgm:pt>
    <dgm:pt modelId="{F53F6FC1-7EB4-4D59-9D10-E0D6483FE0CB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  <a:ln>
          <a:solidFill>
            <a:srgbClr val="4E4565"/>
          </a:solidFill>
        </a:ln>
      </dgm:spPr>
      <dgm:t>
        <a:bodyPr/>
        <a:lstStyle/>
        <a:p>
          <a:endParaRPr lang="en-US"/>
        </a:p>
      </dgm:t>
    </dgm:pt>
    <dgm:pt modelId="{E08987D3-B03A-4D1C-B98C-31103E51019F}" type="parTrans" cxnId="{B6AE7BD7-CA5C-4A2B-9071-79D2A93AA5B4}">
      <dgm:prSet/>
      <dgm:spPr>
        <a:solidFill>
          <a:srgbClr val="4E4565"/>
        </a:solidFill>
      </dgm:spPr>
      <dgm:t>
        <a:bodyPr/>
        <a:lstStyle/>
        <a:p>
          <a:endParaRPr lang="en-US"/>
        </a:p>
      </dgm:t>
    </dgm:pt>
    <dgm:pt modelId="{FE930947-8DAD-4B2C-839D-E65D9C4FCC41}" type="sibTrans" cxnId="{B6AE7BD7-CA5C-4A2B-9071-79D2A93AA5B4}">
      <dgm:prSet/>
      <dgm:spPr/>
      <dgm:t>
        <a:bodyPr/>
        <a:lstStyle/>
        <a:p>
          <a:endParaRPr lang="en-US"/>
        </a:p>
      </dgm:t>
    </dgm:pt>
    <dgm:pt modelId="{BA84A8DC-BCB6-44C5-B9EB-7547DD91B87F}" type="pres">
      <dgm:prSet presAssocID="{7EF175CE-F017-41C9-86EF-4BFE3588617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D64A38-1E5F-413B-AAAA-2012365420FA}" type="pres">
      <dgm:prSet presAssocID="{FB3AE0BB-766E-435B-B5BE-3C56D0F5D6C5}" presName="centerShape" presStyleLbl="node0" presStyleIdx="0" presStyleCnt="1"/>
      <dgm:spPr/>
    </dgm:pt>
    <dgm:pt modelId="{151E26C9-0DC7-4029-A2CF-A11BE937D510}" type="pres">
      <dgm:prSet presAssocID="{FE0F26D6-643B-48F6-B77E-C413E5458F68}" presName="parTrans" presStyleLbl="sibTrans2D1" presStyleIdx="0" presStyleCnt="6"/>
      <dgm:spPr/>
    </dgm:pt>
    <dgm:pt modelId="{C582D504-5B2F-4E3E-A293-187CC895543B}" type="pres">
      <dgm:prSet presAssocID="{FE0F26D6-643B-48F6-B77E-C413E5458F68}" presName="connectorText" presStyleLbl="sibTrans2D1" presStyleIdx="0" presStyleCnt="6"/>
      <dgm:spPr/>
    </dgm:pt>
    <dgm:pt modelId="{65C072F1-097E-4379-8912-6028969FF9E7}" type="pres">
      <dgm:prSet presAssocID="{23129E71-446F-4105-9E94-658841571B6F}" presName="node" presStyleLbl="node1" presStyleIdx="0" presStyleCnt="6">
        <dgm:presLayoutVars>
          <dgm:bulletEnabled val="1"/>
        </dgm:presLayoutVars>
      </dgm:prSet>
      <dgm:spPr/>
    </dgm:pt>
    <dgm:pt modelId="{5D541DEA-E13D-4625-8DB6-969239D605A7}" type="pres">
      <dgm:prSet presAssocID="{51EB45C3-F05B-424E-A670-71D296B3AB3A}" presName="parTrans" presStyleLbl="sibTrans2D1" presStyleIdx="1" presStyleCnt="6"/>
      <dgm:spPr/>
    </dgm:pt>
    <dgm:pt modelId="{ED96FEAF-9321-4152-BD42-3AB31490CB7B}" type="pres">
      <dgm:prSet presAssocID="{51EB45C3-F05B-424E-A670-71D296B3AB3A}" presName="connectorText" presStyleLbl="sibTrans2D1" presStyleIdx="1" presStyleCnt="6"/>
      <dgm:spPr/>
    </dgm:pt>
    <dgm:pt modelId="{32E2AEEA-E271-48AB-8ED7-5B7724D217B6}" type="pres">
      <dgm:prSet presAssocID="{211BC540-CF11-42E3-8BBD-187D92C1715F}" presName="node" presStyleLbl="node1" presStyleIdx="1" presStyleCnt="6">
        <dgm:presLayoutVars>
          <dgm:bulletEnabled val="1"/>
        </dgm:presLayoutVars>
      </dgm:prSet>
      <dgm:spPr/>
    </dgm:pt>
    <dgm:pt modelId="{0F4EB9D7-0FE9-4CC8-9195-94AAC7F415F8}" type="pres">
      <dgm:prSet presAssocID="{E08987D3-B03A-4D1C-B98C-31103E51019F}" presName="parTrans" presStyleLbl="sibTrans2D1" presStyleIdx="2" presStyleCnt="6"/>
      <dgm:spPr/>
    </dgm:pt>
    <dgm:pt modelId="{08AB50A2-41B9-4228-9AEF-ED5718FC3C75}" type="pres">
      <dgm:prSet presAssocID="{E08987D3-B03A-4D1C-B98C-31103E51019F}" presName="connectorText" presStyleLbl="sibTrans2D1" presStyleIdx="2" presStyleCnt="6"/>
      <dgm:spPr/>
    </dgm:pt>
    <dgm:pt modelId="{25A903A5-D38C-43A4-9798-5A8C6F32A9FD}" type="pres">
      <dgm:prSet presAssocID="{F53F6FC1-7EB4-4D59-9D10-E0D6483FE0CB}" presName="node" presStyleLbl="node1" presStyleIdx="2" presStyleCnt="6">
        <dgm:presLayoutVars>
          <dgm:bulletEnabled val="1"/>
        </dgm:presLayoutVars>
      </dgm:prSet>
      <dgm:spPr/>
    </dgm:pt>
    <dgm:pt modelId="{D8531FE5-6E84-4CEC-B636-1CD01A825DCE}" type="pres">
      <dgm:prSet presAssocID="{0FB1CC71-C271-4CFB-A082-3ED1F2ECB1BE}" presName="parTrans" presStyleLbl="sibTrans2D1" presStyleIdx="3" presStyleCnt="6"/>
      <dgm:spPr/>
    </dgm:pt>
    <dgm:pt modelId="{CAC15DF0-E7B2-426C-B1E7-E811C5A8CE26}" type="pres">
      <dgm:prSet presAssocID="{0FB1CC71-C271-4CFB-A082-3ED1F2ECB1BE}" presName="connectorText" presStyleLbl="sibTrans2D1" presStyleIdx="3" presStyleCnt="6"/>
      <dgm:spPr/>
    </dgm:pt>
    <dgm:pt modelId="{326F3091-6CDC-4C04-9EC9-EC39DFA148A8}" type="pres">
      <dgm:prSet presAssocID="{1344E396-347F-4E46-9070-AA57FAF834B6}" presName="node" presStyleLbl="node1" presStyleIdx="3" presStyleCnt="6">
        <dgm:presLayoutVars>
          <dgm:bulletEnabled val="1"/>
        </dgm:presLayoutVars>
      </dgm:prSet>
      <dgm:spPr/>
    </dgm:pt>
    <dgm:pt modelId="{69B4DAAF-CD36-4552-8B16-4F64096DC619}" type="pres">
      <dgm:prSet presAssocID="{E25E65EC-345F-4F4F-A7AC-EEF17E26EFC1}" presName="parTrans" presStyleLbl="sibTrans2D1" presStyleIdx="4" presStyleCnt="6"/>
      <dgm:spPr/>
    </dgm:pt>
    <dgm:pt modelId="{89980DD8-ECD8-44C4-B59B-EFD3F5A5C5F9}" type="pres">
      <dgm:prSet presAssocID="{E25E65EC-345F-4F4F-A7AC-EEF17E26EFC1}" presName="connectorText" presStyleLbl="sibTrans2D1" presStyleIdx="4" presStyleCnt="6"/>
      <dgm:spPr/>
    </dgm:pt>
    <dgm:pt modelId="{09CCE644-469A-4BC4-B1F4-92F2B29498A4}" type="pres">
      <dgm:prSet presAssocID="{7DA40721-A0EA-42D9-9352-E704DE99EECB}" presName="node" presStyleLbl="node1" presStyleIdx="4" presStyleCnt="6">
        <dgm:presLayoutVars>
          <dgm:bulletEnabled val="1"/>
        </dgm:presLayoutVars>
      </dgm:prSet>
      <dgm:spPr/>
    </dgm:pt>
    <dgm:pt modelId="{0674570B-9B38-45E2-B6AA-E88D1136AE21}" type="pres">
      <dgm:prSet presAssocID="{FBF859A4-E2E8-4C18-B92B-88CC2F32C38D}" presName="parTrans" presStyleLbl="sibTrans2D1" presStyleIdx="5" presStyleCnt="6"/>
      <dgm:spPr/>
    </dgm:pt>
    <dgm:pt modelId="{5272FE37-EE21-4632-B6D6-B3D7C3B72BFF}" type="pres">
      <dgm:prSet presAssocID="{FBF859A4-E2E8-4C18-B92B-88CC2F32C38D}" presName="connectorText" presStyleLbl="sibTrans2D1" presStyleIdx="5" presStyleCnt="6"/>
      <dgm:spPr/>
    </dgm:pt>
    <dgm:pt modelId="{FB19CDA2-152D-4F65-BE00-4BAFD29070F9}" type="pres">
      <dgm:prSet presAssocID="{A485869B-2766-4A70-A46E-00BF15DF71E0}" presName="node" presStyleLbl="node1" presStyleIdx="5" presStyleCnt="6">
        <dgm:presLayoutVars>
          <dgm:bulletEnabled val="1"/>
        </dgm:presLayoutVars>
      </dgm:prSet>
      <dgm:spPr/>
    </dgm:pt>
  </dgm:ptLst>
  <dgm:cxnLst>
    <dgm:cxn modelId="{50F3D90B-B0D0-4597-A97B-E67A305229B1}" type="presOf" srcId="{E08987D3-B03A-4D1C-B98C-31103E51019F}" destId="{08AB50A2-41B9-4228-9AEF-ED5718FC3C75}" srcOrd="1" destOrd="0" presId="urn:microsoft.com/office/officeart/2005/8/layout/radial5"/>
    <dgm:cxn modelId="{65BA6C10-F924-4932-8D55-23CCED84A099}" type="presOf" srcId="{7DA40721-A0EA-42D9-9352-E704DE99EECB}" destId="{09CCE644-469A-4BC4-B1F4-92F2B29498A4}" srcOrd="0" destOrd="0" presId="urn:microsoft.com/office/officeart/2005/8/layout/radial5"/>
    <dgm:cxn modelId="{B862BB1B-C52F-4452-87BD-82BCE2847A93}" type="presOf" srcId="{23129E71-446F-4105-9E94-658841571B6F}" destId="{65C072F1-097E-4379-8912-6028969FF9E7}" srcOrd="0" destOrd="0" presId="urn:microsoft.com/office/officeart/2005/8/layout/radial5"/>
    <dgm:cxn modelId="{9511651C-B9C6-43D3-93C9-031E1E1909B7}" type="presOf" srcId="{211BC540-CF11-42E3-8BBD-187D92C1715F}" destId="{32E2AEEA-E271-48AB-8ED7-5B7724D217B6}" srcOrd="0" destOrd="0" presId="urn:microsoft.com/office/officeart/2005/8/layout/radial5"/>
    <dgm:cxn modelId="{553AD11D-A251-494E-8629-44BFA4EC56DB}" type="presOf" srcId="{FBF859A4-E2E8-4C18-B92B-88CC2F32C38D}" destId="{0674570B-9B38-45E2-B6AA-E88D1136AE21}" srcOrd="0" destOrd="0" presId="urn:microsoft.com/office/officeart/2005/8/layout/radial5"/>
    <dgm:cxn modelId="{3F46D229-57C2-4E61-AB94-3A6BA5279B4E}" type="presOf" srcId="{51EB45C3-F05B-424E-A670-71D296B3AB3A}" destId="{ED96FEAF-9321-4152-BD42-3AB31490CB7B}" srcOrd="1" destOrd="0" presId="urn:microsoft.com/office/officeart/2005/8/layout/radial5"/>
    <dgm:cxn modelId="{3DC1012F-8ED1-4FBE-B7C0-81F6E4B5BDA0}" type="presOf" srcId="{E25E65EC-345F-4F4F-A7AC-EEF17E26EFC1}" destId="{89980DD8-ECD8-44C4-B59B-EFD3F5A5C5F9}" srcOrd="1" destOrd="0" presId="urn:microsoft.com/office/officeart/2005/8/layout/radial5"/>
    <dgm:cxn modelId="{3626EF32-6669-4758-B8E6-D93927566081}" type="presOf" srcId="{7EF175CE-F017-41C9-86EF-4BFE35886170}" destId="{BA84A8DC-BCB6-44C5-B9EB-7547DD91B87F}" srcOrd="0" destOrd="0" presId="urn:microsoft.com/office/officeart/2005/8/layout/radial5"/>
    <dgm:cxn modelId="{5EF20C37-9C37-4724-B2ED-3A5174F25496}" srcId="{FB3AE0BB-766E-435B-B5BE-3C56D0F5D6C5}" destId="{23129E71-446F-4105-9E94-658841571B6F}" srcOrd="0" destOrd="0" parTransId="{FE0F26D6-643B-48F6-B77E-C413E5458F68}" sibTransId="{B15B9EB1-6103-4B52-AB4D-D3520E682361}"/>
    <dgm:cxn modelId="{ECA3463B-035C-426D-9FEF-64959CA0D6B5}" type="presOf" srcId="{1344E396-347F-4E46-9070-AA57FAF834B6}" destId="{326F3091-6CDC-4C04-9EC9-EC39DFA148A8}" srcOrd="0" destOrd="0" presId="urn:microsoft.com/office/officeart/2005/8/layout/radial5"/>
    <dgm:cxn modelId="{1B63B563-5500-4948-B562-C1D8E669E8CE}" type="presOf" srcId="{51EB45C3-F05B-424E-A670-71D296B3AB3A}" destId="{5D541DEA-E13D-4625-8DB6-969239D605A7}" srcOrd="0" destOrd="0" presId="urn:microsoft.com/office/officeart/2005/8/layout/radial5"/>
    <dgm:cxn modelId="{C54A3866-5811-4C92-A97B-55D989C5F159}" type="presOf" srcId="{0FB1CC71-C271-4CFB-A082-3ED1F2ECB1BE}" destId="{D8531FE5-6E84-4CEC-B636-1CD01A825DCE}" srcOrd="0" destOrd="0" presId="urn:microsoft.com/office/officeart/2005/8/layout/radial5"/>
    <dgm:cxn modelId="{ED8B2168-9E11-4714-9394-CAA28AF05DA5}" type="presOf" srcId="{F53F6FC1-7EB4-4D59-9D10-E0D6483FE0CB}" destId="{25A903A5-D38C-43A4-9798-5A8C6F32A9FD}" srcOrd="0" destOrd="0" presId="urn:microsoft.com/office/officeart/2005/8/layout/radial5"/>
    <dgm:cxn modelId="{B2891970-B275-43AB-B50C-DC9F34455FB7}" type="presOf" srcId="{FBF859A4-E2E8-4C18-B92B-88CC2F32C38D}" destId="{5272FE37-EE21-4632-B6D6-B3D7C3B72BFF}" srcOrd="1" destOrd="0" presId="urn:microsoft.com/office/officeart/2005/8/layout/radial5"/>
    <dgm:cxn modelId="{9F13CD70-EC9B-40C3-B525-600150413761}" type="presOf" srcId="{E25E65EC-345F-4F4F-A7AC-EEF17E26EFC1}" destId="{69B4DAAF-CD36-4552-8B16-4F64096DC619}" srcOrd="0" destOrd="0" presId="urn:microsoft.com/office/officeart/2005/8/layout/radial5"/>
    <dgm:cxn modelId="{3835D352-E48E-4515-8E65-1DADB275C391}" type="presOf" srcId="{0FB1CC71-C271-4CFB-A082-3ED1F2ECB1BE}" destId="{CAC15DF0-E7B2-426C-B1E7-E811C5A8CE26}" srcOrd="1" destOrd="0" presId="urn:microsoft.com/office/officeart/2005/8/layout/radial5"/>
    <dgm:cxn modelId="{38DFB585-0AAF-4220-B3D5-DBB076BAE2EA}" type="presOf" srcId="{FE0F26D6-643B-48F6-B77E-C413E5458F68}" destId="{151E26C9-0DC7-4029-A2CF-A11BE937D510}" srcOrd="0" destOrd="0" presId="urn:microsoft.com/office/officeart/2005/8/layout/radial5"/>
    <dgm:cxn modelId="{C8F538A6-1EDB-4DC1-A012-97E7955537E2}" type="presOf" srcId="{FE0F26D6-643B-48F6-B77E-C413E5458F68}" destId="{C582D504-5B2F-4E3E-A293-187CC895543B}" srcOrd="1" destOrd="0" presId="urn:microsoft.com/office/officeart/2005/8/layout/radial5"/>
    <dgm:cxn modelId="{8B33DACD-3879-4F01-9971-ABDB5CAFAD74}" srcId="{FB3AE0BB-766E-435B-B5BE-3C56D0F5D6C5}" destId="{1344E396-347F-4E46-9070-AA57FAF834B6}" srcOrd="3" destOrd="0" parTransId="{0FB1CC71-C271-4CFB-A082-3ED1F2ECB1BE}" sibTransId="{9019EBCB-3128-4917-A06B-9789CF780D7E}"/>
    <dgm:cxn modelId="{B6AE7BD7-CA5C-4A2B-9071-79D2A93AA5B4}" srcId="{FB3AE0BB-766E-435B-B5BE-3C56D0F5D6C5}" destId="{F53F6FC1-7EB4-4D59-9D10-E0D6483FE0CB}" srcOrd="2" destOrd="0" parTransId="{E08987D3-B03A-4D1C-B98C-31103E51019F}" sibTransId="{FE930947-8DAD-4B2C-839D-E65D9C4FCC41}"/>
    <dgm:cxn modelId="{93586FDB-7DDB-4F0B-BF77-986E4E651B94}" srcId="{FB3AE0BB-766E-435B-B5BE-3C56D0F5D6C5}" destId="{A485869B-2766-4A70-A46E-00BF15DF71E0}" srcOrd="5" destOrd="0" parTransId="{FBF859A4-E2E8-4C18-B92B-88CC2F32C38D}" sibTransId="{EBD13511-F756-4E05-84E3-27FD750C2ED7}"/>
    <dgm:cxn modelId="{A075D7E5-5AB9-486A-89E8-A3D588E4C31E}" type="presOf" srcId="{E08987D3-B03A-4D1C-B98C-31103E51019F}" destId="{0F4EB9D7-0FE9-4CC8-9195-94AAC7F415F8}" srcOrd="0" destOrd="0" presId="urn:microsoft.com/office/officeart/2005/8/layout/radial5"/>
    <dgm:cxn modelId="{B56CDAE7-8AC2-4422-BFA8-89839F09136A}" type="presOf" srcId="{FB3AE0BB-766E-435B-B5BE-3C56D0F5D6C5}" destId="{61D64A38-1E5F-413B-AAAA-2012365420FA}" srcOrd="0" destOrd="0" presId="urn:microsoft.com/office/officeart/2005/8/layout/radial5"/>
    <dgm:cxn modelId="{21CF22EB-71AD-4785-9D64-21157BB8DF85}" srcId="{7EF175CE-F017-41C9-86EF-4BFE35886170}" destId="{FB3AE0BB-766E-435B-B5BE-3C56D0F5D6C5}" srcOrd="0" destOrd="0" parTransId="{EC757F92-5A2B-40F4-8ED0-6963A0F3CD6D}" sibTransId="{EA5CE24C-AAD1-42D9-8FA0-E38BE9725528}"/>
    <dgm:cxn modelId="{7E39E6F4-5051-4804-9A5F-8A77D23900EF}" type="presOf" srcId="{A485869B-2766-4A70-A46E-00BF15DF71E0}" destId="{FB19CDA2-152D-4F65-BE00-4BAFD29070F9}" srcOrd="0" destOrd="0" presId="urn:microsoft.com/office/officeart/2005/8/layout/radial5"/>
    <dgm:cxn modelId="{9C4E6EF6-A93E-423B-B7A5-A39FD0327AD5}" srcId="{FB3AE0BB-766E-435B-B5BE-3C56D0F5D6C5}" destId="{7DA40721-A0EA-42D9-9352-E704DE99EECB}" srcOrd="4" destOrd="0" parTransId="{E25E65EC-345F-4F4F-A7AC-EEF17E26EFC1}" sibTransId="{B7517512-0FE5-4197-B5C6-7C8E6C8BB6C1}"/>
    <dgm:cxn modelId="{9F7E1AFC-9259-4296-9C6B-6DBEEDF3E8E7}" srcId="{FB3AE0BB-766E-435B-B5BE-3C56D0F5D6C5}" destId="{211BC540-CF11-42E3-8BBD-187D92C1715F}" srcOrd="1" destOrd="0" parTransId="{51EB45C3-F05B-424E-A670-71D296B3AB3A}" sibTransId="{A84F98D9-25B5-424F-9B6E-F342C31EFEC3}"/>
    <dgm:cxn modelId="{01174F27-B0BF-4AD6-BA6C-E5FA74952FB5}" type="presParOf" srcId="{BA84A8DC-BCB6-44C5-B9EB-7547DD91B87F}" destId="{61D64A38-1E5F-413B-AAAA-2012365420FA}" srcOrd="0" destOrd="0" presId="urn:microsoft.com/office/officeart/2005/8/layout/radial5"/>
    <dgm:cxn modelId="{51C18EE4-B2BA-401C-B764-FEE0A0239C30}" type="presParOf" srcId="{BA84A8DC-BCB6-44C5-B9EB-7547DD91B87F}" destId="{151E26C9-0DC7-4029-A2CF-A11BE937D510}" srcOrd="1" destOrd="0" presId="urn:microsoft.com/office/officeart/2005/8/layout/radial5"/>
    <dgm:cxn modelId="{37F6421E-593D-4E73-8C62-FAD9A8B42443}" type="presParOf" srcId="{151E26C9-0DC7-4029-A2CF-A11BE937D510}" destId="{C582D504-5B2F-4E3E-A293-187CC895543B}" srcOrd="0" destOrd="0" presId="urn:microsoft.com/office/officeart/2005/8/layout/radial5"/>
    <dgm:cxn modelId="{503CE0F3-56BB-4EE7-85E3-F8F47DF799B7}" type="presParOf" srcId="{BA84A8DC-BCB6-44C5-B9EB-7547DD91B87F}" destId="{65C072F1-097E-4379-8912-6028969FF9E7}" srcOrd="2" destOrd="0" presId="urn:microsoft.com/office/officeart/2005/8/layout/radial5"/>
    <dgm:cxn modelId="{11031183-8004-4E8E-915F-23B10416EF07}" type="presParOf" srcId="{BA84A8DC-BCB6-44C5-B9EB-7547DD91B87F}" destId="{5D541DEA-E13D-4625-8DB6-969239D605A7}" srcOrd="3" destOrd="0" presId="urn:microsoft.com/office/officeart/2005/8/layout/radial5"/>
    <dgm:cxn modelId="{543FB546-1058-403E-A520-2A4FB3C10B08}" type="presParOf" srcId="{5D541DEA-E13D-4625-8DB6-969239D605A7}" destId="{ED96FEAF-9321-4152-BD42-3AB31490CB7B}" srcOrd="0" destOrd="0" presId="urn:microsoft.com/office/officeart/2005/8/layout/radial5"/>
    <dgm:cxn modelId="{356D54E9-E8F8-464A-8C56-0748820BADF5}" type="presParOf" srcId="{BA84A8DC-BCB6-44C5-B9EB-7547DD91B87F}" destId="{32E2AEEA-E271-48AB-8ED7-5B7724D217B6}" srcOrd="4" destOrd="0" presId="urn:microsoft.com/office/officeart/2005/8/layout/radial5"/>
    <dgm:cxn modelId="{043098C7-7739-44E3-86BB-5B2A514BB77E}" type="presParOf" srcId="{BA84A8DC-BCB6-44C5-B9EB-7547DD91B87F}" destId="{0F4EB9D7-0FE9-4CC8-9195-94AAC7F415F8}" srcOrd="5" destOrd="0" presId="urn:microsoft.com/office/officeart/2005/8/layout/radial5"/>
    <dgm:cxn modelId="{02475BED-B42C-47D8-921B-17ACE373BC71}" type="presParOf" srcId="{0F4EB9D7-0FE9-4CC8-9195-94AAC7F415F8}" destId="{08AB50A2-41B9-4228-9AEF-ED5718FC3C75}" srcOrd="0" destOrd="0" presId="urn:microsoft.com/office/officeart/2005/8/layout/radial5"/>
    <dgm:cxn modelId="{73A922DF-D9C8-4523-A565-3256DA2FE3C8}" type="presParOf" srcId="{BA84A8DC-BCB6-44C5-B9EB-7547DD91B87F}" destId="{25A903A5-D38C-43A4-9798-5A8C6F32A9FD}" srcOrd="6" destOrd="0" presId="urn:microsoft.com/office/officeart/2005/8/layout/radial5"/>
    <dgm:cxn modelId="{A51B7B4D-77FC-4ECA-A327-9DDED513CA4A}" type="presParOf" srcId="{BA84A8DC-BCB6-44C5-B9EB-7547DD91B87F}" destId="{D8531FE5-6E84-4CEC-B636-1CD01A825DCE}" srcOrd="7" destOrd="0" presId="urn:microsoft.com/office/officeart/2005/8/layout/radial5"/>
    <dgm:cxn modelId="{880677A3-8E5D-44DE-9640-34AD794A1E32}" type="presParOf" srcId="{D8531FE5-6E84-4CEC-B636-1CD01A825DCE}" destId="{CAC15DF0-E7B2-426C-B1E7-E811C5A8CE26}" srcOrd="0" destOrd="0" presId="urn:microsoft.com/office/officeart/2005/8/layout/radial5"/>
    <dgm:cxn modelId="{45DF52EB-3448-4B71-9E85-73D0732C63B2}" type="presParOf" srcId="{BA84A8DC-BCB6-44C5-B9EB-7547DD91B87F}" destId="{326F3091-6CDC-4C04-9EC9-EC39DFA148A8}" srcOrd="8" destOrd="0" presId="urn:microsoft.com/office/officeart/2005/8/layout/radial5"/>
    <dgm:cxn modelId="{432395C3-0B60-4EFD-9CAA-852564AB401A}" type="presParOf" srcId="{BA84A8DC-BCB6-44C5-B9EB-7547DD91B87F}" destId="{69B4DAAF-CD36-4552-8B16-4F64096DC619}" srcOrd="9" destOrd="0" presId="urn:microsoft.com/office/officeart/2005/8/layout/radial5"/>
    <dgm:cxn modelId="{EB4A44A0-9A1E-4A3A-9463-F468AFEEDBE6}" type="presParOf" srcId="{69B4DAAF-CD36-4552-8B16-4F64096DC619}" destId="{89980DD8-ECD8-44C4-B59B-EFD3F5A5C5F9}" srcOrd="0" destOrd="0" presId="urn:microsoft.com/office/officeart/2005/8/layout/radial5"/>
    <dgm:cxn modelId="{4DC8E816-35AD-4546-A1F4-D71D0B4D661F}" type="presParOf" srcId="{BA84A8DC-BCB6-44C5-B9EB-7547DD91B87F}" destId="{09CCE644-469A-4BC4-B1F4-92F2B29498A4}" srcOrd="10" destOrd="0" presId="urn:microsoft.com/office/officeart/2005/8/layout/radial5"/>
    <dgm:cxn modelId="{3898C034-B93E-44BB-823A-E6DEB1C43A1E}" type="presParOf" srcId="{BA84A8DC-BCB6-44C5-B9EB-7547DD91B87F}" destId="{0674570B-9B38-45E2-B6AA-E88D1136AE21}" srcOrd="11" destOrd="0" presId="urn:microsoft.com/office/officeart/2005/8/layout/radial5"/>
    <dgm:cxn modelId="{949B4762-EE52-4876-A9B3-9F39E7AEC148}" type="presParOf" srcId="{0674570B-9B38-45E2-B6AA-E88D1136AE21}" destId="{5272FE37-EE21-4632-B6D6-B3D7C3B72BFF}" srcOrd="0" destOrd="0" presId="urn:microsoft.com/office/officeart/2005/8/layout/radial5"/>
    <dgm:cxn modelId="{8FA0F594-65F9-487A-8EEE-4747975A7E31}" type="presParOf" srcId="{BA84A8DC-BCB6-44C5-B9EB-7547DD91B87F}" destId="{FB19CDA2-152D-4F65-BE00-4BAFD29070F9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246A879-BB0B-4912-9065-EB9D2F3EABF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A3C8607-E20F-4118-A74C-A64A68ED5BEF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17244F"/>
        </a:solidFill>
        <a:ln>
          <a:noFill/>
        </a:ln>
      </dgm:spPr>
      <dgm:t>
        <a:bodyPr/>
        <a:lstStyle/>
        <a:p>
          <a:r>
            <a:rPr lang="en-US" sz="1400" dirty="0">
              <a:solidFill>
                <a:schemeClr val="bg1"/>
              </a:solidFill>
            </a:rPr>
            <a:t>D365 for Marketing</a:t>
          </a:r>
        </a:p>
      </dgm:t>
    </dgm:pt>
    <dgm:pt modelId="{30F1263B-A389-4882-A068-0D35BF6540D6}" type="parTrans" cxnId="{0B555F50-8158-4C75-8FB6-764ABE846E84}">
      <dgm:prSet/>
      <dgm:spPr/>
      <dgm:t>
        <a:bodyPr/>
        <a:lstStyle/>
        <a:p>
          <a:endParaRPr lang="en-US"/>
        </a:p>
      </dgm:t>
    </dgm:pt>
    <dgm:pt modelId="{EE88F89B-1A3C-4E21-9C61-2800B68FF69E}" type="sibTrans" cxnId="{0B555F50-8158-4C75-8FB6-764ABE846E84}">
      <dgm:prSet/>
      <dgm:spPr>
        <a:solidFill>
          <a:schemeClr val="tx2"/>
        </a:solidFill>
      </dgm:spPr>
      <dgm:t>
        <a:bodyPr/>
        <a:lstStyle/>
        <a:p>
          <a:endParaRPr lang="en-US"/>
        </a:p>
      </dgm:t>
    </dgm:pt>
    <dgm:pt modelId="{F1D05EC6-4405-4861-9F0C-DB74B4DEE9BD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17244F"/>
        </a:solidFill>
        <a:ln>
          <a:noFill/>
        </a:ln>
      </dgm:spPr>
      <dgm:t>
        <a:bodyPr/>
        <a:lstStyle/>
        <a:p>
          <a:r>
            <a:rPr lang="en-US" sz="1400" dirty="0">
              <a:solidFill>
                <a:schemeClr val="bg1"/>
              </a:solidFill>
            </a:rPr>
            <a:t>D365 for Sales</a:t>
          </a:r>
        </a:p>
      </dgm:t>
    </dgm:pt>
    <dgm:pt modelId="{2C012295-2085-48EB-B926-801BE7467BD8}" type="parTrans" cxnId="{8573C34B-31E2-413A-A924-003A32EBCADA}">
      <dgm:prSet/>
      <dgm:spPr/>
      <dgm:t>
        <a:bodyPr/>
        <a:lstStyle/>
        <a:p>
          <a:endParaRPr lang="en-US"/>
        </a:p>
      </dgm:t>
    </dgm:pt>
    <dgm:pt modelId="{1E697A33-4165-434B-ABBC-B6DF1E46E805}" type="sibTrans" cxnId="{8573C34B-31E2-413A-A924-003A32EBCADA}">
      <dgm:prSet/>
      <dgm:spPr>
        <a:solidFill>
          <a:schemeClr val="tx2"/>
        </a:solidFill>
      </dgm:spPr>
      <dgm:t>
        <a:bodyPr/>
        <a:lstStyle/>
        <a:p>
          <a:endParaRPr lang="en-US"/>
        </a:p>
      </dgm:t>
    </dgm:pt>
    <dgm:pt modelId="{764F41C3-56FE-4E82-A5A1-1B9603F0BDD4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solidFill>
          <a:srgbClr val="17244F"/>
        </a:solidFill>
        <a:ln>
          <a:noFill/>
        </a:ln>
      </dgm:spPr>
      <dgm:t>
        <a:bodyPr/>
        <a:lstStyle/>
        <a:p>
          <a:r>
            <a:rPr lang="en-US" sz="1400" dirty="0">
              <a:solidFill>
                <a:schemeClr val="bg1"/>
              </a:solidFill>
            </a:rPr>
            <a:t>D365 for Customer Service</a:t>
          </a:r>
        </a:p>
      </dgm:t>
    </dgm:pt>
    <dgm:pt modelId="{13753D86-04AB-4E62-9F3B-A406015FA61A}" type="parTrans" cxnId="{2A4E174A-38AE-4C8C-807B-AB1ED4D5E01A}">
      <dgm:prSet/>
      <dgm:spPr/>
      <dgm:t>
        <a:bodyPr/>
        <a:lstStyle/>
        <a:p>
          <a:endParaRPr lang="en-US"/>
        </a:p>
      </dgm:t>
    </dgm:pt>
    <dgm:pt modelId="{6248BF75-3BE8-4B5B-924D-109B935A56D2}" type="sibTrans" cxnId="{2A4E174A-38AE-4C8C-807B-AB1ED4D5E01A}">
      <dgm:prSet/>
      <dgm:spPr/>
      <dgm:t>
        <a:bodyPr/>
        <a:lstStyle/>
        <a:p>
          <a:endParaRPr lang="en-US"/>
        </a:p>
      </dgm:t>
    </dgm:pt>
    <dgm:pt modelId="{608717AF-66D3-4F48-B4F6-5B31C26BE970}" type="pres">
      <dgm:prSet presAssocID="{E246A879-BB0B-4912-9065-EB9D2F3EABFE}" presName="Name0" presStyleCnt="0">
        <dgm:presLayoutVars>
          <dgm:dir/>
          <dgm:resizeHandles val="exact"/>
        </dgm:presLayoutVars>
      </dgm:prSet>
      <dgm:spPr/>
    </dgm:pt>
    <dgm:pt modelId="{E7677232-DAC4-4496-A74F-24F2ED2BF6E4}" type="pres">
      <dgm:prSet presAssocID="{7A3C8607-E20F-4118-A74C-A64A68ED5BEF}" presName="node" presStyleLbl="node1" presStyleIdx="0" presStyleCnt="3">
        <dgm:presLayoutVars>
          <dgm:bulletEnabled val="1"/>
        </dgm:presLayoutVars>
      </dgm:prSet>
      <dgm:spPr/>
    </dgm:pt>
    <dgm:pt modelId="{68440C68-7FD7-4F21-A878-288F479634CE}" type="pres">
      <dgm:prSet presAssocID="{EE88F89B-1A3C-4E21-9C61-2800B68FF69E}" presName="sibTrans" presStyleLbl="sibTrans2D1" presStyleIdx="0" presStyleCnt="2"/>
      <dgm:spPr/>
    </dgm:pt>
    <dgm:pt modelId="{A407837F-9A8F-4E17-B14B-03A990F7D1A9}" type="pres">
      <dgm:prSet presAssocID="{EE88F89B-1A3C-4E21-9C61-2800B68FF69E}" presName="connectorText" presStyleLbl="sibTrans2D1" presStyleIdx="0" presStyleCnt="2"/>
      <dgm:spPr/>
    </dgm:pt>
    <dgm:pt modelId="{9A6909D0-86FB-4318-A192-7EDB209DD122}" type="pres">
      <dgm:prSet presAssocID="{F1D05EC6-4405-4861-9F0C-DB74B4DEE9BD}" presName="node" presStyleLbl="node1" presStyleIdx="1" presStyleCnt="3">
        <dgm:presLayoutVars>
          <dgm:bulletEnabled val="1"/>
        </dgm:presLayoutVars>
      </dgm:prSet>
      <dgm:spPr/>
    </dgm:pt>
    <dgm:pt modelId="{3D0CAFBC-172D-46EC-9356-A99BAB7DC2E0}" type="pres">
      <dgm:prSet presAssocID="{1E697A33-4165-434B-ABBC-B6DF1E46E805}" presName="sibTrans" presStyleLbl="sibTrans2D1" presStyleIdx="1" presStyleCnt="2"/>
      <dgm:spPr/>
    </dgm:pt>
    <dgm:pt modelId="{9122B7A6-005C-4F92-BBF5-732B2EFE9FBA}" type="pres">
      <dgm:prSet presAssocID="{1E697A33-4165-434B-ABBC-B6DF1E46E805}" presName="connectorText" presStyleLbl="sibTrans2D1" presStyleIdx="1" presStyleCnt="2"/>
      <dgm:spPr/>
    </dgm:pt>
    <dgm:pt modelId="{A70B456B-2500-42E4-BF21-196F46DB3A84}" type="pres">
      <dgm:prSet presAssocID="{764F41C3-56FE-4E82-A5A1-1B9603F0BDD4}" presName="node" presStyleLbl="node1" presStyleIdx="2" presStyleCnt="3">
        <dgm:presLayoutVars>
          <dgm:bulletEnabled val="1"/>
        </dgm:presLayoutVars>
      </dgm:prSet>
      <dgm:spPr/>
    </dgm:pt>
  </dgm:ptLst>
  <dgm:cxnLst>
    <dgm:cxn modelId="{5AE9F710-40C6-4A00-B59E-AEC727CE5C29}" type="presOf" srcId="{7A3C8607-E20F-4118-A74C-A64A68ED5BEF}" destId="{E7677232-DAC4-4496-A74F-24F2ED2BF6E4}" srcOrd="0" destOrd="0" presId="urn:microsoft.com/office/officeart/2005/8/layout/process1"/>
    <dgm:cxn modelId="{D2084E22-F6A1-4CF7-BCA7-C6F0AE503407}" type="presOf" srcId="{1E697A33-4165-434B-ABBC-B6DF1E46E805}" destId="{3D0CAFBC-172D-46EC-9356-A99BAB7DC2E0}" srcOrd="0" destOrd="0" presId="urn:microsoft.com/office/officeart/2005/8/layout/process1"/>
    <dgm:cxn modelId="{3CB61560-EA51-4B5D-803B-E6EFFCAE06FD}" type="presOf" srcId="{EE88F89B-1A3C-4E21-9C61-2800B68FF69E}" destId="{68440C68-7FD7-4F21-A878-288F479634CE}" srcOrd="0" destOrd="0" presId="urn:microsoft.com/office/officeart/2005/8/layout/process1"/>
    <dgm:cxn modelId="{2A4E174A-38AE-4C8C-807B-AB1ED4D5E01A}" srcId="{E246A879-BB0B-4912-9065-EB9D2F3EABFE}" destId="{764F41C3-56FE-4E82-A5A1-1B9603F0BDD4}" srcOrd="2" destOrd="0" parTransId="{13753D86-04AB-4E62-9F3B-A406015FA61A}" sibTransId="{6248BF75-3BE8-4B5B-924D-109B935A56D2}"/>
    <dgm:cxn modelId="{8573C34B-31E2-413A-A924-003A32EBCADA}" srcId="{E246A879-BB0B-4912-9065-EB9D2F3EABFE}" destId="{F1D05EC6-4405-4861-9F0C-DB74B4DEE9BD}" srcOrd="1" destOrd="0" parTransId="{2C012295-2085-48EB-B926-801BE7467BD8}" sibTransId="{1E697A33-4165-434B-ABBC-B6DF1E46E805}"/>
    <dgm:cxn modelId="{5AAF5A4E-E349-4F8A-BB4E-66C97142EEF9}" type="presOf" srcId="{EE88F89B-1A3C-4E21-9C61-2800B68FF69E}" destId="{A407837F-9A8F-4E17-B14B-03A990F7D1A9}" srcOrd="1" destOrd="0" presId="urn:microsoft.com/office/officeart/2005/8/layout/process1"/>
    <dgm:cxn modelId="{0B555F50-8158-4C75-8FB6-764ABE846E84}" srcId="{E246A879-BB0B-4912-9065-EB9D2F3EABFE}" destId="{7A3C8607-E20F-4118-A74C-A64A68ED5BEF}" srcOrd="0" destOrd="0" parTransId="{30F1263B-A389-4882-A068-0D35BF6540D6}" sibTransId="{EE88F89B-1A3C-4E21-9C61-2800B68FF69E}"/>
    <dgm:cxn modelId="{98C4EAA0-7D35-4350-839A-C6EFEC548D02}" type="presOf" srcId="{E246A879-BB0B-4912-9065-EB9D2F3EABFE}" destId="{608717AF-66D3-4F48-B4F6-5B31C26BE970}" srcOrd="0" destOrd="0" presId="urn:microsoft.com/office/officeart/2005/8/layout/process1"/>
    <dgm:cxn modelId="{1BE7DDD3-D502-40D0-A270-467B808819CF}" type="presOf" srcId="{764F41C3-56FE-4E82-A5A1-1B9603F0BDD4}" destId="{A70B456B-2500-42E4-BF21-196F46DB3A84}" srcOrd="0" destOrd="0" presId="urn:microsoft.com/office/officeart/2005/8/layout/process1"/>
    <dgm:cxn modelId="{C3880FDC-100B-4893-A356-6323FF61178F}" type="presOf" srcId="{F1D05EC6-4405-4861-9F0C-DB74B4DEE9BD}" destId="{9A6909D0-86FB-4318-A192-7EDB209DD122}" srcOrd="0" destOrd="0" presId="urn:microsoft.com/office/officeart/2005/8/layout/process1"/>
    <dgm:cxn modelId="{CF7B29EF-7233-448A-8279-88EFD1B89987}" type="presOf" srcId="{1E697A33-4165-434B-ABBC-B6DF1E46E805}" destId="{9122B7A6-005C-4F92-BBF5-732B2EFE9FBA}" srcOrd="1" destOrd="0" presId="urn:microsoft.com/office/officeart/2005/8/layout/process1"/>
    <dgm:cxn modelId="{DB061DE0-6D19-4289-84B5-D7043C832464}" type="presParOf" srcId="{608717AF-66D3-4F48-B4F6-5B31C26BE970}" destId="{E7677232-DAC4-4496-A74F-24F2ED2BF6E4}" srcOrd="0" destOrd="0" presId="urn:microsoft.com/office/officeart/2005/8/layout/process1"/>
    <dgm:cxn modelId="{87BF6B72-0D42-4279-AFCE-746B599025BE}" type="presParOf" srcId="{608717AF-66D3-4F48-B4F6-5B31C26BE970}" destId="{68440C68-7FD7-4F21-A878-288F479634CE}" srcOrd="1" destOrd="0" presId="urn:microsoft.com/office/officeart/2005/8/layout/process1"/>
    <dgm:cxn modelId="{F9DA2675-DB32-4FA2-B61B-39E88735A55B}" type="presParOf" srcId="{68440C68-7FD7-4F21-A878-288F479634CE}" destId="{A407837F-9A8F-4E17-B14B-03A990F7D1A9}" srcOrd="0" destOrd="0" presId="urn:microsoft.com/office/officeart/2005/8/layout/process1"/>
    <dgm:cxn modelId="{25EB0115-BD2E-48BD-92D3-D0E115614DD0}" type="presParOf" srcId="{608717AF-66D3-4F48-B4F6-5B31C26BE970}" destId="{9A6909D0-86FB-4318-A192-7EDB209DD122}" srcOrd="2" destOrd="0" presId="urn:microsoft.com/office/officeart/2005/8/layout/process1"/>
    <dgm:cxn modelId="{1F1F1ECB-E703-4597-A253-C07F8E390BFD}" type="presParOf" srcId="{608717AF-66D3-4F48-B4F6-5B31C26BE970}" destId="{3D0CAFBC-172D-46EC-9356-A99BAB7DC2E0}" srcOrd="3" destOrd="0" presId="urn:microsoft.com/office/officeart/2005/8/layout/process1"/>
    <dgm:cxn modelId="{C2E13CA5-E9CB-47A8-88A0-F333AECC355C}" type="presParOf" srcId="{3D0CAFBC-172D-46EC-9356-A99BAB7DC2E0}" destId="{9122B7A6-005C-4F92-BBF5-732B2EFE9FBA}" srcOrd="0" destOrd="0" presId="urn:microsoft.com/office/officeart/2005/8/layout/process1"/>
    <dgm:cxn modelId="{0905F5FF-A203-4E6D-BA66-5D82CE647C0E}" type="presParOf" srcId="{608717AF-66D3-4F48-B4F6-5B31C26BE970}" destId="{A70B456B-2500-42E4-BF21-196F46DB3A8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D64A38-1E5F-413B-AAAA-2012365420FA}">
      <dsp:nvSpPr>
        <dsp:cNvPr id="0" name=""/>
        <dsp:cNvSpPr/>
      </dsp:nvSpPr>
      <dsp:spPr>
        <a:xfrm>
          <a:off x="1559422" y="929128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1656504" y="1026210"/>
        <a:ext cx="468752" cy="468752"/>
      </dsp:txXfrm>
    </dsp:sp>
    <dsp:sp modelId="{151E26C9-0DC7-4029-A2CF-A11BE937D510}">
      <dsp:nvSpPr>
        <dsp:cNvPr id="0" name=""/>
        <dsp:cNvSpPr/>
      </dsp:nvSpPr>
      <dsp:spPr>
        <a:xfrm rot="16200000">
          <a:off x="1820702" y="687994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1841755" y="754125"/>
        <a:ext cx="98249" cy="135235"/>
      </dsp:txXfrm>
    </dsp:sp>
    <dsp:sp modelId="{65C072F1-097E-4379-8912-6028969FF9E7}">
      <dsp:nvSpPr>
        <dsp:cNvPr id="0" name=""/>
        <dsp:cNvSpPr/>
      </dsp:nvSpPr>
      <dsp:spPr>
        <a:xfrm>
          <a:off x="1559422" y="1391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1656504" y="98473"/>
        <a:ext cx="468752" cy="468752"/>
      </dsp:txXfrm>
    </dsp:sp>
    <dsp:sp modelId="{5D541DEA-E13D-4625-8DB6-969239D605A7}">
      <dsp:nvSpPr>
        <dsp:cNvPr id="0" name=""/>
        <dsp:cNvSpPr/>
      </dsp:nvSpPr>
      <dsp:spPr>
        <a:xfrm rot="19800000">
          <a:off x="2218984" y="917943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2221805" y="973548"/>
        <a:ext cx="98249" cy="135235"/>
      </dsp:txXfrm>
    </dsp:sp>
    <dsp:sp modelId="{32E2AEEA-E271-48AB-8ED7-5B7724D217B6}">
      <dsp:nvSpPr>
        <dsp:cNvPr id="0" name=""/>
        <dsp:cNvSpPr/>
      </dsp:nvSpPr>
      <dsp:spPr>
        <a:xfrm>
          <a:off x="2362866" y="465260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2459948" y="562342"/>
        <a:ext cx="468752" cy="468752"/>
      </dsp:txXfrm>
    </dsp:sp>
    <dsp:sp modelId="{0F4EB9D7-0FE9-4CC8-9195-94AAC7F415F8}">
      <dsp:nvSpPr>
        <dsp:cNvPr id="0" name=""/>
        <dsp:cNvSpPr/>
      </dsp:nvSpPr>
      <dsp:spPr>
        <a:xfrm rot="1800000">
          <a:off x="2218984" y="1377839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2221805" y="1412391"/>
        <a:ext cx="98249" cy="135235"/>
      </dsp:txXfrm>
    </dsp:sp>
    <dsp:sp modelId="{25A903A5-D38C-43A4-9798-5A8C6F32A9FD}">
      <dsp:nvSpPr>
        <dsp:cNvPr id="0" name=""/>
        <dsp:cNvSpPr/>
      </dsp:nvSpPr>
      <dsp:spPr>
        <a:xfrm>
          <a:off x="2362866" y="1392997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2459948" y="1490079"/>
        <a:ext cx="468752" cy="468752"/>
      </dsp:txXfrm>
    </dsp:sp>
    <dsp:sp modelId="{D8531FE5-6E84-4CEC-B636-1CD01A825DCE}">
      <dsp:nvSpPr>
        <dsp:cNvPr id="0" name=""/>
        <dsp:cNvSpPr/>
      </dsp:nvSpPr>
      <dsp:spPr>
        <a:xfrm rot="5400000">
          <a:off x="1820702" y="1607787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>
        <a:off x="1841755" y="1631812"/>
        <a:ext cx="98249" cy="135235"/>
      </dsp:txXfrm>
    </dsp:sp>
    <dsp:sp modelId="{326F3091-6CDC-4C04-9EC9-EC39DFA148A8}">
      <dsp:nvSpPr>
        <dsp:cNvPr id="0" name=""/>
        <dsp:cNvSpPr/>
      </dsp:nvSpPr>
      <dsp:spPr>
        <a:xfrm>
          <a:off x="1559422" y="1856866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1656504" y="1953948"/>
        <a:ext cx="468752" cy="468752"/>
      </dsp:txXfrm>
    </dsp:sp>
    <dsp:sp modelId="{69B4DAAF-CD36-4552-8B16-4F64096DC619}">
      <dsp:nvSpPr>
        <dsp:cNvPr id="0" name=""/>
        <dsp:cNvSpPr/>
      </dsp:nvSpPr>
      <dsp:spPr>
        <a:xfrm rot="9000000">
          <a:off x="1422420" y="1377839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10800000">
        <a:off x="1461705" y="1412391"/>
        <a:ext cx="98249" cy="135235"/>
      </dsp:txXfrm>
    </dsp:sp>
    <dsp:sp modelId="{09CCE644-469A-4BC4-B1F4-92F2B29498A4}">
      <dsp:nvSpPr>
        <dsp:cNvPr id="0" name=""/>
        <dsp:cNvSpPr/>
      </dsp:nvSpPr>
      <dsp:spPr>
        <a:xfrm>
          <a:off x="755978" y="1392997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853060" y="1490079"/>
        <a:ext cx="468752" cy="468752"/>
      </dsp:txXfrm>
    </dsp:sp>
    <dsp:sp modelId="{0674570B-9B38-45E2-B6AA-E88D1136AE21}">
      <dsp:nvSpPr>
        <dsp:cNvPr id="0" name=""/>
        <dsp:cNvSpPr/>
      </dsp:nvSpPr>
      <dsp:spPr>
        <a:xfrm rot="12600000">
          <a:off x="1422420" y="917943"/>
          <a:ext cx="140355" cy="225391"/>
        </a:xfrm>
        <a:prstGeom prst="rightArrow">
          <a:avLst>
            <a:gd name="adj1" fmla="val 60000"/>
            <a:gd name="adj2" fmla="val 50000"/>
          </a:avLst>
        </a:prstGeom>
        <a:solidFill>
          <a:srgbClr val="4E45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10800000">
        <a:off x="1461705" y="973548"/>
        <a:ext cx="98249" cy="135235"/>
      </dsp:txXfrm>
    </dsp:sp>
    <dsp:sp modelId="{FB19CDA2-152D-4F65-BE00-4BAFD29070F9}">
      <dsp:nvSpPr>
        <dsp:cNvPr id="0" name=""/>
        <dsp:cNvSpPr/>
      </dsp:nvSpPr>
      <dsp:spPr>
        <a:xfrm>
          <a:off x="755978" y="465260"/>
          <a:ext cx="662916" cy="662916"/>
        </a:xfrm>
        <a:prstGeom prst="ellipse">
          <a:avLst/>
        </a:prstGeom>
        <a:noFill/>
        <a:ln w="10795" cap="flat" cmpd="sng" algn="ctr">
          <a:solidFill>
            <a:srgbClr val="4E4565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853060" y="562342"/>
        <a:ext cx="468752" cy="4687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677232-DAC4-4496-A74F-24F2ED2BF6E4}">
      <dsp:nvSpPr>
        <dsp:cNvPr id="0" name=""/>
        <dsp:cNvSpPr/>
      </dsp:nvSpPr>
      <dsp:spPr>
        <a:xfrm>
          <a:off x="4442" y="1333500"/>
          <a:ext cx="1327911" cy="796747"/>
        </a:xfrm>
        <a:prstGeom prst="roundRect">
          <a:avLst>
            <a:gd name="adj" fmla="val 10000"/>
          </a:avLst>
        </a:prstGeom>
        <a:solidFill>
          <a:srgbClr val="17244F"/>
        </a:solidFill>
        <a:ln w="9525" cap="flat" cmpd="sng" algn="ctr">
          <a:noFill/>
          <a:prstDash val="solid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D365 for Marketing</a:t>
          </a:r>
        </a:p>
      </dsp:txBody>
      <dsp:txXfrm>
        <a:off x="27778" y="1356836"/>
        <a:ext cx="1281239" cy="750075"/>
      </dsp:txXfrm>
    </dsp:sp>
    <dsp:sp modelId="{68440C68-7FD7-4F21-A878-288F479634CE}">
      <dsp:nvSpPr>
        <dsp:cNvPr id="0" name=""/>
        <dsp:cNvSpPr/>
      </dsp:nvSpPr>
      <dsp:spPr>
        <a:xfrm>
          <a:off x="1465145" y="1567213"/>
          <a:ext cx="281517" cy="329322"/>
        </a:xfrm>
        <a:prstGeom prst="rightArrow">
          <a:avLst>
            <a:gd name="adj1" fmla="val 60000"/>
            <a:gd name="adj2" fmla="val 50000"/>
          </a:avLst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1465145" y="1633077"/>
        <a:ext cx="197062" cy="197594"/>
      </dsp:txXfrm>
    </dsp:sp>
    <dsp:sp modelId="{9A6909D0-86FB-4318-A192-7EDB209DD122}">
      <dsp:nvSpPr>
        <dsp:cNvPr id="0" name=""/>
        <dsp:cNvSpPr/>
      </dsp:nvSpPr>
      <dsp:spPr>
        <a:xfrm>
          <a:off x="1863519" y="1333500"/>
          <a:ext cx="1327911" cy="796747"/>
        </a:xfrm>
        <a:prstGeom prst="roundRect">
          <a:avLst>
            <a:gd name="adj" fmla="val 10000"/>
          </a:avLst>
        </a:prstGeom>
        <a:solidFill>
          <a:srgbClr val="17244F"/>
        </a:solidFill>
        <a:ln w="9525" cap="flat" cmpd="sng" algn="ctr">
          <a:noFill/>
          <a:prstDash val="solid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D365 for Sales</a:t>
          </a:r>
        </a:p>
      </dsp:txBody>
      <dsp:txXfrm>
        <a:off x="1886855" y="1356836"/>
        <a:ext cx="1281239" cy="750075"/>
      </dsp:txXfrm>
    </dsp:sp>
    <dsp:sp modelId="{3D0CAFBC-172D-46EC-9356-A99BAB7DC2E0}">
      <dsp:nvSpPr>
        <dsp:cNvPr id="0" name=""/>
        <dsp:cNvSpPr/>
      </dsp:nvSpPr>
      <dsp:spPr>
        <a:xfrm>
          <a:off x="3324222" y="1567213"/>
          <a:ext cx="281517" cy="329322"/>
        </a:xfrm>
        <a:prstGeom prst="rightArrow">
          <a:avLst>
            <a:gd name="adj1" fmla="val 60000"/>
            <a:gd name="adj2" fmla="val 50000"/>
          </a:avLst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3324222" y="1633077"/>
        <a:ext cx="197062" cy="197594"/>
      </dsp:txXfrm>
    </dsp:sp>
    <dsp:sp modelId="{A70B456B-2500-42E4-BF21-196F46DB3A84}">
      <dsp:nvSpPr>
        <dsp:cNvPr id="0" name=""/>
        <dsp:cNvSpPr/>
      </dsp:nvSpPr>
      <dsp:spPr>
        <a:xfrm>
          <a:off x="3722596" y="1333500"/>
          <a:ext cx="1327911" cy="796747"/>
        </a:xfrm>
        <a:prstGeom prst="roundRect">
          <a:avLst>
            <a:gd name="adj" fmla="val 10000"/>
          </a:avLst>
        </a:prstGeom>
        <a:solidFill>
          <a:srgbClr val="17244F"/>
        </a:solidFill>
        <a:ln w="9525" cap="flat" cmpd="sng" algn="ctr">
          <a:noFill/>
          <a:prstDash val="solid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D365 for Customer Service</a:t>
          </a:r>
        </a:p>
      </dsp:txBody>
      <dsp:txXfrm>
        <a:off x="3745932" y="1356836"/>
        <a:ext cx="1281239" cy="7500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A1D146-B4E0-1741-B9EE-9789392EFCC4}" type="datetimeFigureOut">
              <a:rPr lang="en-US" smtClean="0"/>
              <a:t>3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863621-2E60-B848-8968-B0341E26A3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02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687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81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DC5B6-F1C2-472C-AC5A-34CC73AA2BF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941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DC5B6-F1C2-472C-AC5A-34CC73AA2B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17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DC5B6-F1C2-472C-AC5A-34CC73AA2BF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660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DC5B6-F1C2-472C-AC5A-34CC73AA2BF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610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DC5B6-F1C2-472C-AC5A-34CC73AA2BF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342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32803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  <p15:guide id="2" pos="29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No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0441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  <p15:guide id="2" pos="2963">
          <p15:clr>
            <a:srgbClr val="FBAE40"/>
          </p15:clr>
        </p15:guide>
        <p15:guide id="4" orient="horz" pos="24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_Service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19213" y="2302410"/>
            <a:ext cx="3379788" cy="188267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9213" y="4473116"/>
            <a:ext cx="337978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376363"/>
            <a:ext cx="926048" cy="926048"/>
          </a:xfrm>
        </p:spPr>
        <p:txBody>
          <a:bodyPr anchor="ctr" anchorCtr="1">
            <a:noAutofit/>
          </a:bodyPr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icon</a:t>
            </a:r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996100" y="520065"/>
            <a:ext cx="4618049" cy="6483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Insert Columbus service or product logo and align to right margin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5095330" y="1587221"/>
            <a:ext cx="3701008" cy="221599"/>
          </a:xfrm>
        </p:spPr>
        <p:txBody>
          <a:bodyPr wrap="square" lIns="182880" anchor="ctr" anchorCtr="0">
            <a:normAutofit/>
          </a:bodyPr>
          <a:lstStyle>
            <a:lvl1pPr marL="0" indent="0">
              <a:buFontTx/>
              <a:buNone/>
              <a:defRPr sz="2000"/>
            </a:lvl1pPr>
            <a:lvl2pPr marL="22859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5095331" y="1916832"/>
            <a:ext cx="3701007" cy="221599"/>
          </a:xfrm>
        </p:spPr>
        <p:txBody>
          <a:bodyPr wrap="square" lIns="182880" anchor="ctr" anchorCtr="0">
            <a:normAutofit/>
          </a:bodyPr>
          <a:lstStyle>
            <a:lvl1pPr marL="0" indent="0">
              <a:buFontTx/>
              <a:buNone/>
              <a:defRPr sz="2000">
                <a:solidFill>
                  <a:schemeClr val="bg2"/>
                </a:solidFill>
              </a:defRPr>
            </a:lvl1pPr>
            <a:lvl2pPr marL="22859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979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31" userDrawn="1">
          <p15:clr>
            <a:srgbClr val="FBAE40"/>
          </p15:clr>
        </p15:guide>
        <p15:guide id="2" pos="584" userDrawn="1">
          <p15:clr>
            <a:srgbClr val="FBAE40"/>
          </p15:clr>
        </p15:guide>
        <p15:guide id="3" pos="5541" userDrawn="1">
          <p15:clr>
            <a:srgbClr val="FBAE40"/>
          </p15:clr>
        </p15:guide>
        <p15:guide id="4" orient="horz" pos="1451" userDrawn="1">
          <p15:clr>
            <a:srgbClr val="FBAE40"/>
          </p15:clr>
        </p15:guide>
        <p15:guide id="5" orient="horz" pos="867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_Service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19213" y="2302410"/>
            <a:ext cx="3379788" cy="1882673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9213" y="4473116"/>
            <a:ext cx="337978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376363"/>
            <a:ext cx="926048" cy="926048"/>
          </a:xfrm>
        </p:spPr>
        <p:txBody>
          <a:bodyPr anchor="ctr" anchorCtr="1">
            <a:noAutofit/>
          </a:bodyPr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icon</a:t>
            </a:r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996100" y="520065"/>
            <a:ext cx="4618049" cy="6483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Insert Columbus service or product logo and align to right margin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5095330" y="1587221"/>
            <a:ext cx="3701008" cy="221599"/>
          </a:xfrm>
        </p:spPr>
        <p:txBody>
          <a:bodyPr wrap="square" lIns="182880" anchor="ctr" anchorCtr="0">
            <a:normAutofit/>
          </a:bodyPr>
          <a:lstStyle>
            <a:lvl1pPr marL="0" indent="0">
              <a:buFontTx/>
              <a:buNone/>
              <a:defRPr sz="2000"/>
            </a:lvl1pPr>
            <a:lvl2pPr marL="22859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5095331" y="1916832"/>
            <a:ext cx="3701007" cy="221599"/>
          </a:xfrm>
        </p:spPr>
        <p:txBody>
          <a:bodyPr wrap="square" lIns="182880" anchor="ctr" anchorCtr="0">
            <a:normAutofit/>
          </a:bodyPr>
          <a:lstStyle>
            <a:lvl1pPr marL="0" indent="0">
              <a:buFontTx/>
              <a:buNone/>
              <a:defRPr sz="2000">
                <a:solidFill>
                  <a:schemeClr val="bg2"/>
                </a:solidFill>
              </a:defRPr>
            </a:lvl1pPr>
            <a:lvl2pPr marL="22859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232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31">
          <p15:clr>
            <a:srgbClr val="FBAE40"/>
          </p15:clr>
        </p15:guide>
        <p15:guide id="2" pos="584">
          <p15:clr>
            <a:srgbClr val="FBAE40"/>
          </p15:clr>
        </p15:guide>
        <p15:guide id="3" pos="5541">
          <p15:clr>
            <a:srgbClr val="FBAE40"/>
          </p15:clr>
        </p15:guide>
        <p15:guide id="4" orient="horz" pos="1451">
          <p15:clr>
            <a:srgbClr val="FBAE40"/>
          </p15:clr>
        </p15:guide>
        <p15:guide id="5" orient="horz" pos="867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5758" y="3465004"/>
            <a:ext cx="5768392" cy="59559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45758" y="4306444"/>
            <a:ext cx="5768392" cy="197529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037146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orient="horz" pos="2183" userDrawn="1">
          <p15:clr>
            <a:srgbClr val="FBAE40"/>
          </p15:clr>
        </p15:guide>
        <p15:guide id="3" orient="horz" pos="2559" userDrawn="1">
          <p15:clr>
            <a:srgbClr val="FBAE40"/>
          </p15:clr>
        </p15:guide>
        <p15:guide id="4" orient="horz" pos="271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o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0" hasCustomPrompt="1"/>
          </p:nvPr>
        </p:nvSpPr>
        <p:spPr>
          <a:xfrm>
            <a:off x="574623" y="2241551"/>
            <a:ext cx="11039527" cy="40401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558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7175946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8" y="2241550"/>
            <a:ext cx="5393970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400"/>
            </a:lvl1pPr>
            <a:lvl2pPr>
              <a:spcBef>
                <a:spcPts val="672"/>
              </a:spcBef>
              <a:defRPr sz="2000"/>
            </a:lvl2pPr>
            <a:lvl3pPr>
              <a:spcBef>
                <a:spcPts val="672"/>
              </a:spcBef>
              <a:defRPr sz="2000"/>
            </a:lvl3pPr>
            <a:lvl4pPr>
              <a:spcBef>
                <a:spcPts val="672"/>
              </a:spcBef>
              <a:defRPr sz="1800"/>
            </a:lvl4pPr>
            <a:lvl5pPr>
              <a:spcBef>
                <a:spcPts val="672"/>
              </a:spcBef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6208713" y="2241550"/>
            <a:ext cx="5405438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400"/>
            </a:lvl1pPr>
            <a:lvl2pPr>
              <a:spcBef>
                <a:spcPts val="672"/>
              </a:spcBef>
              <a:defRPr sz="2000"/>
            </a:lvl2pPr>
            <a:lvl3pPr>
              <a:spcBef>
                <a:spcPts val="672"/>
              </a:spcBef>
              <a:defRPr sz="2000"/>
            </a:lvl3pPr>
            <a:lvl4pPr>
              <a:spcBef>
                <a:spcPts val="672"/>
              </a:spcBef>
              <a:defRPr sz="1800"/>
            </a:lvl4pPr>
            <a:lvl5pPr>
              <a:spcBef>
                <a:spcPts val="672"/>
              </a:spcBef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720042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3761">
          <p15:clr>
            <a:srgbClr val="FBAE40"/>
          </p15:clr>
        </p15:guide>
        <p15:guide id="5" pos="391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619" y="2241550"/>
            <a:ext cx="5393969" cy="387798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8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619" y="2732226"/>
            <a:ext cx="5393970" cy="3549512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400"/>
            </a:lvl1pPr>
            <a:lvl2pPr>
              <a:spcBef>
                <a:spcPts val="672"/>
              </a:spcBef>
              <a:defRPr sz="1800"/>
            </a:lvl2pPr>
            <a:lvl3pPr>
              <a:spcBef>
                <a:spcPts val="672"/>
              </a:spcBef>
              <a:defRPr sz="1800"/>
            </a:lvl3pPr>
            <a:lvl4pPr>
              <a:spcBef>
                <a:spcPts val="672"/>
              </a:spcBef>
              <a:defRPr sz="1800"/>
            </a:lvl4pPr>
            <a:lvl5pPr>
              <a:spcBef>
                <a:spcPts val="672"/>
              </a:spcBef>
              <a:defRPr sz="18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3950" y="2241550"/>
            <a:ext cx="5410199" cy="387798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8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3951" y="2732226"/>
            <a:ext cx="5410200" cy="3549512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400"/>
            </a:lvl1pPr>
            <a:lvl2pPr>
              <a:spcBef>
                <a:spcPts val="672"/>
              </a:spcBef>
              <a:defRPr sz="1800"/>
            </a:lvl2pPr>
            <a:lvl3pPr>
              <a:spcBef>
                <a:spcPts val="672"/>
              </a:spcBef>
              <a:defRPr sz="1800"/>
            </a:lvl3pPr>
            <a:lvl4pPr>
              <a:spcBef>
                <a:spcPts val="672"/>
              </a:spcBef>
              <a:defRPr sz="1800"/>
            </a:lvl4pPr>
            <a:lvl5pPr>
              <a:spcBef>
                <a:spcPts val="672"/>
              </a:spcBef>
              <a:defRPr sz="18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429658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61" userDrawn="1">
          <p15:clr>
            <a:srgbClr val="FBAE40"/>
          </p15:clr>
        </p15:guide>
        <p15:guide id="2" pos="390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0736098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9379437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37" userDrawn="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38662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423697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206904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684894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30238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781681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771363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879788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_Til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336101" y="1975104"/>
            <a:ext cx="2525300" cy="130943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234950" indent="-234950">
              <a:defRPr sz="1600">
                <a:solidFill>
                  <a:schemeClr val="bg2"/>
                </a:solidFill>
              </a:defRPr>
            </a:lvl2pPr>
            <a:lvl3pPr marL="457200" indent="-222250">
              <a:defRPr sz="1600">
                <a:solidFill>
                  <a:schemeClr val="bg2"/>
                </a:solidFill>
              </a:defRPr>
            </a:lvl3pPr>
            <a:lvl4pPr marL="692150" indent="-234950">
              <a:defRPr sz="1400">
                <a:solidFill>
                  <a:schemeClr val="bg2"/>
                </a:solidFill>
              </a:defRPr>
            </a:lvl4pPr>
            <a:lvl5pPr marL="914400" indent="-222250"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9902780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  <p15:guide id="3" pos="5881">
          <p15:clr>
            <a:srgbClr val="FBAE40"/>
          </p15:clr>
        </p15:guide>
        <p15:guide id="4" pos="5688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206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arrow Photo_Til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336088" y="5283962"/>
            <a:ext cx="2523744" cy="130759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234950" indent="-234950">
              <a:defRPr sz="1600">
                <a:solidFill>
                  <a:schemeClr val="bg2"/>
                </a:solidFill>
              </a:defRPr>
            </a:lvl2pPr>
            <a:lvl3pPr marL="457200" indent="-222250">
              <a:defRPr sz="1600">
                <a:solidFill>
                  <a:schemeClr val="bg2"/>
                </a:solidFill>
              </a:defRPr>
            </a:lvl3pPr>
            <a:lvl4pPr marL="692150" indent="-234950">
              <a:defRPr sz="1400">
                <a:solidFill>
                  <a:schemeClr val="bg2"/>
                </a:solidFill>
              </a:defRPr>
            </a:lvl4pPr>
            <a:lvl5pPr marL="914400" indent="-222250"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680612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  <p15:guide id="3" pos="5881">
          <p15:clr>
            <a:srgbClr val="FBAE40"/>
          </p15:clr>
        </p15:guide>
        <p15:guide id="4" pos="5688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3328" userDrawn="1">
          <p15:clr>
            <a:srgbClr val="FBAE40"/>
          </p15:clr>
        </p15:guide>
        <p15:guide id="7" orient="horz" pos="415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117132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6718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8788351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5635308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7727235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9030223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de Photo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5762269" cy="404037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859325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53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16124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2"/>
                </a:solidFill>
              </a:rPr>
              <a:pPr algn="ctr"/>
              <a:t>‹#›</a:t>
            </a:fld>
            <a:endParaRPr lang="en-US" sz="1200">
              <a:solidFill>
                <a:schemeClr val="accent2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890268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 userDrawn="1">
          <p15:clr>
            <a:srgbClr val="FBAE40"/>
          </p15:clr>
        </p15:guide>
        <p15:guide id="5" orient="horz" pos="3724" userDrawn="1">
          <p15:clr>
            <a:srgbClr val="FBAE40"/>
          </p15:clr>
        </p15:guide>
        <p15:guide id="6" orient="horz" pos="4176" userDrawn="1">
          <p15:clr>
            <a:srgbClr val="FBAE40"/>
          </p15:clr>
        </p15:guide>
        <p15:guide id="7" orient="horz" pos="359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17712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2"/>
                </a:solidFill>
              </a:rPr>
              <a:pPr algn="ctr"/>
              <a:t>‹#›</a:t>
            </a:fld>
            <a:endParaRPr lang="en-US" sz="1200">
              <a:solidFill>
                <a:schemeClr val="accent2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681624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 userDrawn="1">
          <p15:clr>
            <a:srgbClr val="FBAE40"/>
          </p15:clr>
        </p15:guide>
        <p15:guide id="5" orient="horz" pos="3590" userDrawn="1">
          <p15:clr>
            <a:srgbClr val="FBAE40"/>
          </p15:clr>
        </p15:guide>
        <p15:guide id="6" orient="horz" pos="3724" userDrawn="1">
          <p15:clr>
            <a:srgbClr val="FBAE40"/>
          </p15:clr>
        </p15:guide>
        <p15:guide id="7" orient="horz" pos="4177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20080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63617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>
          <p15:clr>
            <a:srgbClr val="FBAE40"/>
          </p15:clr>
        </p15:guide>
        <p15:guide id="5" orient="horz" pos="3590">
          <p15:clr>
            <a:srgbClr val="FBAE40"/>
          </p15:clr>
        </p15:guide>
        <p15:guide id="6" orient="horz" pos="4177">
          <p15:clr>
            <a:srgbClr val="FBAE40"/>
          </p15:clr>
        </p15:guide>
        <p15:guide id="7" orient="horz" pos="372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20080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61632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>
          <p15:clr>
            <a:srgbClr val="FBAE40"/>
          </p15:clr>
        </p15:guide>
        <p15:guide id="5" orient="horz" pos="3590">
          <p15:clr>
            <a:srgbClr val="FBAE40"/>
          </p15:clr>
        </p15:guide>
        <p15:guide id="6" orient="horz" pos="4177">
          <p15:clr>
            <a:srgbClr val="FBAE40"/>
          </p15:clr>
        </p15:guide>
        <p15:guide id="7" orient="horz" pos="372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20080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0369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 userDrawn="1">
          <p15:clr>
            <a:srgbClr val="FBAE40"/>
          </p15:clr>
        </p15:guide>
        <p15:guide id="5" orient="horz" pos="3590" userDrawn="1">
          <p15:clr>
            <a:srgbClr val="FBAE40"/>
          </p15:clr>
        </p15:guide>
        <p15:guide id="6" orient="horz" pos="4177" userDrawn="1">
          <p15:clr>
            <a:srgbClr val="FBAE40"/>
          </p15:clr>
        </p15:guide>
        <p15:guide id="7" orient="horz" pos="372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1821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12949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2"/>
                </a:solidFill>
              </a:rPr>
              <a:pPr algn="ctr"/>
              <a:t>‹#›</a:t>
            </a:fld>
            <a:endParaRPr lang="en-US" sz="1200">
              <a:solidFill>
                <a:schemeClr val="accent2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1741379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 userDrawn="1">
          <p15:clr>
            <a:srgbClr val="FBAE40"/>
          </p15:clr>
        </p15:guide>
        <p15:guide id="5" orient="horz" pos="3590" userDrawn="1">
          <p15:clr>
            <a:srgbClr val="FBAE40"/>
          </p15:clr>
        </p15:guide>
        <p15:guide id="6" orient="horz" pos="4174" userDrawn="1">
          <p15:clr>
            <a:srgbClr val="FBAE40"/>
          </p15:clr>
        </p15:guide>
        <p15:guide id="7" orient="horz" pos="3724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975" y="5913276"/>
            <a:ext cx="5653088" cy="720080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4" y="5373216"/>
            <a:ext cx="5653089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760940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1664052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602178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3" pos="4135">
          <p15:clr>
            <a:srgbClr val="FBAE40"/>
          </p15:clr>
        </p15:guide>
        <p15:guide id="4" orient="horz" pos="3383">
          <p15:clr>
            <a:srgbClr val="FBAE40"/>
          </p15:clr>
        </p15:guide>
        <p15:guide id="5" orient="horz" pos="3590">
          <p15:clr>
            <a:srgbClr val="FBAE40"/>
          </p15:clr>
        </p15:guide>
        <p15:guide id="6" orient="horz" pos="4177">
          <p15:clr>
            <a:srgbClr val="FBAE40"/>
          </p15:clr>
        </p15:guide>
        <p15:guide id="7" orient="horz" pos="372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1642706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2459476" y="2241550"/>
            <a:ext cx="1636274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4332288" y="2241550"/>
            <a:ext cx="1639887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6"/>
          </p:nvPr>
        </p:nvSpPr>
        <p:spPr>
          <a:xfrm>
            <a:off x="6208712" y="2241550"/>
            <a:ext cx="1647826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8094664" y="2241550"/>
            <a:ext cx="1638299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9971088" y="2241550"/>
            <a:ext cx="1643062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400"/>
            </a:lvl1pPr>
            <a:lvl2pPr>
              <a:spcBef>
                <a:spcPts val="672"/>
              </a:spcBef>
              <a:defRPr sz="1200"/>
            </a:lvl2pPr>
            <a:lvl3pPr>
              <a:spcBef>
                <a:spcPts val="672"/>
              </a:spcBef>
              <a:defRPr sz="1200"/>
            </a:lvl3pPr>
            <a:lvl4pPr>
              <a:spcBef>
                <a:spcPts val="672"/>
              </a:spcBef>
              <a:defRPr sz="1100"/>
            </a:lvl4pPr>
            <a:lvl5pPr>
              <a:spcBef>
                <a:spcPts val="672"/>
              </a:spcBef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100022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550" userDrawn="1">
          <p15:clr>
            <a:srgbClr val="FBAE40"/>
          </p15:clr>
        </p15:guide>
        <p15:guide id="2" pos="2580" userDrawn="1">
          <p15:clr>
            <a:srgbClr val="FBAE40"/>
          </p15:clr>
        </p15:guide>
        <p15:guide id="3" pos="3762">
          <p15:clr>
            <a:srgbClr val="FBAE40"/>
          </p15:clr>
        </p15:guide>
        <p15:guide id="4" pos="6281" userDrawn="1">
          <p15:clr>
            <a:srgbClr val="FBAE40"/>
          </p15:clr>
        </p15:guide>
        <p15:guide id="5" pos="6131" userDrawn="1">
          <p15:clr>
            <a:srgbClr val="FBAE40"/>
          </p15:clr>
        </p15:guide>
        <p15:guide id="6" pos="3911">
          <p15:clr>
            <a:srgbClr val="FBAE40"/>
          </p15:clr>
        </p15:guide>
        <p15:guide id="7" pos="1398" userDrawn="1">
          <p15:clr>
            <a:srgbClr val="FBAE40"/>
          </p15:clr>
        </p15:guide>
        <p15:guide id="8" pos="2729" userDrawn="1">
          <p15:clr>
            <a:srgbClr val="FBAE40"/>
          </p15:clr>
        </p15:guide>
        <p15:guide id="9" pos="5099" userDrawn="1">
          <p15:clr>
            <a:srgbClr val="FBAE40"/>
          </p15:clr>
        </p15:guide>
        <p15:guide id="10" pos="4949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_Orange Numbe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2582506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96265" y="948118"/>
            <a:ext cx="675925" cy="672580"/>
          </a:xfrm>
          <a:prstGeom prst="ellipse">
            <a:avLst/>
          </a:prstGeom>
          <a:ln w="41275">
            <a:solidFill>
              <a:schemeClr val="accent1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16493" y="948118"/>
            <a:ext cx="675925" cy="672580"/>
          </a:xfrm>
          <a:prstGeom prst="ellipse">
            <a:avLst/>
          </a:prstGeom>
          <a:ln w="41275">
            <a:solidFill>
              <a:schemeClr val="accent1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231139" y="948118"/>
            <a:ext cx="675925" cy="672580"/>
          </a:xfrm>
          <a:prstGeom prst="ellipse">
            <a:avLst/>
          </a:prstGeom>
          <a:ln w="41275">
            <a:solidFill>
              <a:schemeClr val="accent1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030574" y="948118"/>
            <a:ext cx="675925" cy="672580"/>
          </a:xfrm>
          <a:prstGeom prst="ellipse">
            <a:avLst/>
          </a:prstGeom>
          <a:ln w="41275">
            <a:solidFill>
              <a:schemeClr val="accent1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3395663" y="2241550"/>
            <a:ext cx="2576513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6217998" y="2241550"/>
            <a:ext cx="2578339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6"/>
          </p:nvPr>
        </p:nvSpPr>
        <p:spPr>
          <a:xfrm>
            <a:off x="9012238" y="2241550"/>
            <a:ext cx="2615080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8522381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90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3762" userDrawn="1">
          <p15:clr>
            <a:srgbClr val="FBAE40"/>
          </p15:clr>
        </p15:guide>
        <p15:guide id="4" pos="5677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3911" userDrawn="1">
          <p15:clr>
            <a:srgbClr val="FBAE40"/>
          </p15:clr>
        </p15:guide>
        <p15:guide id="7" orient="horz" pos="572" userDrawn="1">
          <p15:clr>
            <a:srgbClr val="FBAE40"/>
          </p15:clr>
        </p15:guide>
        <p15:guide id="8" orient="horz" pos="1034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_Gray Numbe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2582506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96265" y="948118"/>
            <a:ext cx="675925" cy="672580"/>
          </a:xfrm>
          <a:prstGeom prst="ellipse">
            <a:avLst/>
          </a:prstGeom>
          <a:ln w="41275">
            <a:solidFill>
              <a:schemeClr val="tx2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16493" y="948118"/>
            <a:ext cx="675925" cy="672580"/>
          </a:xfrm>
          <a:prstGeom prst="ellipse">
            <a:avLst/>
          </a:prstGeom>
          <a:ln w="41275">
            <a:solidFill>
              <a:schemeClr val="tx2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231139" y="948118"/>
            <a:ext cx="675925" cy="672580"/>
          </a:xfrm>
          <a:prstGeom prst="ellipse">
            <a:avLst/>
          </a:prstGeom>
          <a:ln w="41275">
            <a:solidFill>
              <a:schemeClr val="tx2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030574" y="948118"/>
            <a:ext cx="675925" cy="672580"/>
          </a:xfrm>
          <a:prstGeom prst="ellipse">
            <a:avLst/>
          </a:prstGeom>
          <a:ln w="41275">
            <a:solidFill>
              <a:schemeClr val="tx2"/>
            </a:solidFill>
          </a:ln>
        </p:spPr>
        <p:txBody>
          <a:bodyPr wrap="none" tIns="45720" anchor="ctr" anchorCtr="1">
            <a:noAutofit/>
          </a:bodyPr>
          <a:lstStyle>
            <a:lvl1pPr marL="0" indent="0" algn="ctr">
              <a:buFontTx/>
              <a:buNone/>
              <a:defRPr sz="4000" b="0" spc="-1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3395663" y="2241550"/>
            <a:ext cx="2576513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6217998" y="2241550"/>
            <a:ext cx="2578339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6"/>
          </p:nvPr>
        </p:nvSpPr>
        <p:spPr>
          <a:xfrm>
            <a:off x="9012238" y="2241550"/>
            <a:ext cx="2601912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70392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90">
          <p15:clr>
            <a:srgbClr val="FBAE40"/>
          </p15:clr>
        </p15:guide>
        <p15:guide id="2" pos="2139">
          <p15:clr>
            <a:srgbClr val="FBAE40"/>
          </p15:clr>
        </p15:guide>
        <p15:guide id="3" pos="3762">
          <p15:clr>
            <a:srgbClr val="FBAE40"/>
          </p15:clr>
        </p15:guide>
        <p15:guide id="4" pos="5677">
          <p15:clr>
            <a:srgbClr val="FBAE40"/>
          </p15:clr>
        </p15:guide>
        <p15:guide id="5" pos="5541">
          <p15:clr>
            <a:srgbClr val="FBAE40"/>
          </p15:clr>
        </p15:guide>
        <p15:guide id="6" pos="3911">
          <p15:clr>
            <a:srgbClr val="FBAE40"/>
          </p15:clr>
        </p15:guide>
        <p15:guide id="7" orient="horz" pos="584">
          <p15:clr>
            <a:srgbClr val="FBAE40"/>
          </p15:clr>
        </p15:guide>
        <p15:guide id="8" orient="horz" pos="103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2582506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3395663" y="2241550"/>
            <a:ext cx="2576513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6217998" y="2241550"/>
            <a:ext cx="2578339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6"/>
          </p:nvPr>
        </p:nvSpPr>
        <p:spPr>
          <a:xfrm>
            <a:off x="9012238" y="2241550"/>
            <a:ext cx="2601912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1800"/>
            </a:lvl1pPr>
            <a:lvl2pPr>
              <a:spcBef>
                <a:spcPts val="672"/>
              </a:spcBef>
              <a:defRPr sz="1600"/>
            </a:lvl2pPr>
            <a:lvl3pPr>
              <a:spcBef>
                <a:spcPts val="672"/>
              </a:spcBef>
              <a:defRPr sz="1600"/>
            </a:lvl3pPr>
            <a:lvl4pPr>
              <a:spcBef>
                <a:spcPts val="672"/>
              </a:spcBef>
              <a:defRPr sz="1400"/>
            </a:lvl4pPr>
            <a:lvl5pPr>
              <a:spcBef>
                <a:spcPts val="672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747537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90">
          <p15:clr>
            <a:srgbClr val="FBAE40"/>
          </p15:clr>
        </p15:guide>
        <p15:guide id="2" pos="2139">
          <p15:clr>
            <a:srgbClr val="FBAE40"/>
          </p15:clr>
        </p15:guide>
        <p15:guide id="3" pos="3762">
          <p15:clr>
            <a:srgbClr val="FBAE40"/>
          </p15:clr>
        </p15:guide>
        <p15:guide id="4" pos="5677">
          <p15:clr>
            <a:srgbClr val="FBAE40"/>
          </p15:clr>
        </p15:guide>
        <p15:guide id="5" pos="5541">
          <p15:clr>
            <a:srgbClr val="FBAE40"/>
          </p15:clr>
        </p15:guide>
        <p15:guide id="6" pos="391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8" y="2241550"/>
            <a:ext cx="3519131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000"/>
            </a:lvl1pPr>
            <a:lvl2pPr>
              <a:spcBef>
                <a:spcPts val="672"/>
              </a:spcBef>
              <a:defRPr sz="1800"/>
            </a:lvl2pPr>
            <a:lvl3pPr>
              <a:spcBef>
                <a:spcPts val="672"/>
              </a:spcBef>
              <a:defRPr sz="1800"/>
            </a:lvl3pPr>
            <a:lvl4pPr>
              <a:spcBef>
                <a:spcPts val="672"/>
              </a:spcBef>
              <a:defRPr sz="1600"/>
            </a:lvl4pPr>
            <a:lvl5pPr>
              <a:spcBef>
                <a:spcPts val="672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4333875" y="2241550"/>
            <a:ext cx="3522663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000"/>
            </a:lvl1pPr>
            <a:lvl2pPr>
              <a:spcBef>
                <a:spcPts val="672"/>
              </a:spcBef>
              <a:defRPr sz="1800"/>
            </a:lvl2pPr>
            <a:lvl3pPr>
              <a:spcBef>
                <a:spcPts val="672"/>
              </a:spcBef>
              <a:defRPr sz="1800"/>
            </a:lvl3pPr>
            <a:lvl4pPr>
              <a:spcBef>
                <a:spcPts val="672"/>
              </a:spcBef>
              <a:defRPr sz="1600"/>
            </a:lvl4pPr>
            <a:lvl5pPr>
              <a:spcBef>
                <a:spcPts val="672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8091488" y="2241550"/>
            <a:ext cx="3522662" cy="4040188"/>
          </a:xfrm>
        </p:spPr>
        <p:txBody>
          <a:bodyPr>
            <a:normAutofit/>
          </a:bodyPr>
          <a:lstStyle>
            <a:lvl1pPr>
              <a:spcBef>
                <a:spcPts val="672"/>
              </a:spcBef>
              <a:defRPr sz="2000"/>
            </a:lvl1pPr>
            <a:lvl2pPr>
              <a:spcBef>
                <a:spcPts val="672"/>
              </a:spcBef>
              <a:defRPr sz="1800"/>
            </a:lvl2pPr>
            <a:lvl3pPr>
              <a:spcBef>
                <a:spcPts val="672"/>
              </a:spcBef>
              <a:defRPr sz="1800"/>
            </a:lvl3pPr>
            <a:lvl4pPr>
              <a:spcBef>
                <a:spcPts val="672"/>
              </a:spcBef>
              <a:defRPr sz="1600"/>
            </a:lvl4pPr>
            <a:lvl5pPr>
              <a:spcBef>
                <a:spcPts val="672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3221328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80" userDrawn="1">
          <p15:clr>
            <a:srgbClr val="FBAE40"/>
          </p15:clr>
        </p15:guide>
        <p15:guide id="2" pos="2730" userDrawn="1">
          <p15:clr>
            <a:srgbClr val="FBAE40"/>
          </p15:clr>
        </p15:guide>
        <p15:guide id="4" pos="4949" userDrawn="1">
          <p15:clr>
            <a:srgbClr val="FBAE40"/>
          </p15:clr>
        </p15:guide>
        <p15:guide id="5" pos="5097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873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 - Hidden">
    <p:bg>
      <p:bgPr>
        <a:solidFill>
          <a:schemeClr val="dk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4670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/>
              <a:t>22 August 2017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eed Design Lab &amp; Dinnissen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910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55800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71601"/>
            <a:ext cx="10515600" cy="4805363"/>
          </a:xfrm>
          <a:prstGeom prst="rect">
            <a:avLst/>
          </a:prstGeom>
        </p:spPr>
        <p:txBody>
          <a:bodyPr>
            <a:normAutofit/>
          </a:bodyPr>
          <a:lstStyle>
            <a:lvl1pPr marL="339668" indent="-339668">
              <a:buFont typeface="Arial" panose="020B0604020202020204" pitchFamily="34" charset="0"/>
              <a:buChar char="•"/>
              <a:defRPr sz="2800">
                <a:solidFill>
                  <a:schemeClr val="accent3"/>
                </a:solidFill>
              </a:defRPr>
            </a:lvl1pPr>
            <a:lvl2pPr marL="626958" indent="-287291">
              <a:buFont typeface="Arial" panose="020B0604020202020204" pitchFamily="34" charset="0"/>
              <a:buChar char="•"/>
              <a:defRPr sz="1800"/>
            </a:lvl2pPr>
            <a:lvl3pPr marL="914246" indent="-287291">
              <a:buFont typeface="Arial" panose="020B0604020202020204" pitchFamily="34" charset="0"/>
              <a:buChar char="•"/>
              <a:defRPr sz="1800"/>
            </a:lvl3pPr>
            <a:lvl4pPr marL="1199950" indent="-285703">
              <a:buFont typeface="Arial" panose="020B0604020202020204" pitchFamily="34" charset="0"/>
              <a:buChar char="•"/>
              <a:defRPr sz="1600"/>
            </a:lvl4pPr>
            <a:lvl5pPr marL="1488825" indent="-287291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53801" y="6527528"/>
            <a:ext cx="636588" cy="365125"/>
          </a:xfrm>
          <a:prstGeom prst="rect">
            <a:avLst/>
          </a:prstGeom>
        </p:spPr>
        <p:txBody>
          <a:bodyPr/>
          <a:lstStyle/>
          <a:p>
            <a:fld id="{BBAEF80F-3190-4F3F-BE2A-C933A660762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4790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2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orient="horz" pos="105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715893" y="3429001"/>
            <a:ext cx="9860673" cy="149425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90984">
                      <a:schemeClr val="tx1"/>
                    </a:gs>
                    <a:gs pos="74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(s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E2DC5A-FA40-466F-9392-371D4E5740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717451" y="1337045"/>
            <a:ext cx="9860673" cy="1786826"/>
          </a:xfrm>
        </p:spPr>
        <p:txBody>
          <a:bodyPr lIns="182880" tIns="146304" rIns="182880" bIns="146304"/>
          <a:lstStyle>
            <a:lvl1pPr marL="0" indent="0">
              <a:buNone/>
              <a:defRPr sz="4705"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80491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25320" y="1337045"/>
            <a:ext cx="10749229" cy="4333335"/>
          </a:xfrm>
        </p:spPr>
        <p:txBody>
          <a:bodyPr>
            <a:noAutofit/>
          </a:bodyPr>
          <a:lstStyle>
            <a:lvl1pPr>
              <a:defRPr sz="3529"/>
            </a:lvl1pPr>
            <a:lvl2pPr>
              <a:defRPr sz="2745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79085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33622" y="2532447"/>
            <a:ext cx="4540656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tx1"/>
                </a:solidFill>
              </a:defRPr>
            </a:lvl1pPr>
            <a:lvl2pPr marL="0" indent="0">
              <a:buNone/>
              <a:defRPr sz="1961">
                <a:solidFill>
                  <a:schemeClr val="tx1"/>
                </a:solidFill>
              </a:defRPr>
            </a:lvl2pPr>
            <a:lvl3pPr marL="227209" indent="0">
              <a:buNone/>
              <a:tabLst/>
              <a:defRPr sz="1961">
                <a:solidFill>
                  <a:schemeClr val="tx1"/>
                </a:solidFill>
              </a:defRPr>
            </a:lvl3pPr>
            <a:lvl4pPr marL="451306" indent="0">
              <a:buNone/>
              <a:defRPr>
                <a:solidFill>
                  <a:schemeClr val="tx1"/>
                </a:solidFill>
              </a:defRPr>
            </a:lvl4pPr>
            <a:lvl5pPr marL="672290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45404" y="2532447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solidFill>
                  <a:schemeClr val="tx1"/>
                </a:solidFill>
              </a:defRPr>
            </a:lvl1pPr>
            <a:lvl2pPr marL="0" indent="0">
              <a:buNone/>
              <a:defRPr sz="1961">
                <a:solidFill>
                  <a:schemeClr val="tx1"/>
                </a:solidFill>
              </a:defRPr>
            </a:lvl2pPr>
            <a:lvl3pPr marL="227209" indent="0">
              <a:buNone/>
              <a:tabLst/>
              <a:defRPr sz="1961">
                <a:solidFill>
                  <a:schemeClr val="tx1"/>
                </a:solidFill>
              </a:defRPr>
            </a:lvl3pPr>
            <a:lvl4pPr marL="451306" indent="0">
              <a:buNone/>
              <a:defRPr>
                <a:solidFill>
                  <a:schemeClr val="tx1"/>
                </a:solidFill>
              </a:defRPr>
            </a:lvl4pPr>
            <a:lvl5pPr marL="672290" indent="0">
              <a:buNone/>
              <a:tabLst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293842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451" y="739344"/>
            <a:ext cx="11655840" cy="89966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559105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8643" y="1635896"/>
            <a:ext cx="3510997" cy="191925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274" spc="-98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1362" y="1635895"/>
            <a:ext cx="6723186" cy="778565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960652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451" y="739344"/>
            <a:ext cx="643601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06226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450" y="1635896"/>
            <a:ext cx="7171399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04386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0-50 Right Photo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5999" y="1901"/>
            <a:ext cx="6094444" cy="6856100"/>
          </a:xfrm>
          <a:blipFill>
            <a:blip r:embed="rId3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451" y="1635896"/>
            <a:ext cx="4930337" cy="724246"/>
          </a:xfrm>
        </p:spPr>
        <p:txBody>
          <a:bodyPr wrap="square">
            <a:spAutoFit/>
          </a:bodyPr>
          <a:lstStyle>
            <a:lvl1pPr>
              <a:defRPr sz="392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3880108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037428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50-50 Right Photo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5999" y="1901"/>
            <a:ext cx="6094444" cy="6856100"/>
          </a:xfrm>
          <a:blipFill>
            <a:blip r:embed="rId3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effectLst/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451" y="1635896"/>
            <a:ext cx="4930337" cy="724246"/>
          </a:xfrm>
        </p:spPr>
        <p:txBody>
          <a:bodyPr wrap="square">
            <a:spAutoFit/>
          </a:bodyPr>
          <a:lstStyle>
            <a:lvl1pPr>
              <a:defRPr sz="392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50/50 photo layout</a:t>
            </a:r>
          </a:p>
        </p:txBody>
      </p:sp>
    </p:spTree>
    <p:extLst>
      <p:ext uri="{BB962C8B-B14F-4D97-AF65-F5344CB8AC3E}">
        <p14:creationId xmlns:p14="http://schemas.microsoft.com/office/powerpoint/2010/main" val="150986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541" y="362668"/>
            <a:ext cx="10757008" cy="82495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17450" y="1411758"/>
            <a:ext cx="10757008" cy="4183908"/>
          </a:xfrm>
        </p:spPr>
        <p:txBody>
          <a:bodyPr/>
          <a:lstStyle>
            <a:lvl1pPr marL="0" indent="0">
              <a:buNone/>
              <a:defRPr sz="3235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693794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logo slide_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Box 3">
            <a:extLst>
              <a:ext uri="{FF2B5EF4-FFF2-40B4-BE49-F238E27FC236}">
                <a16:creationId xmlns:a16="http://schemas.microsoft.com/office/drawing/2014/main" id="{C07160F8-22D1-4D5D-834C-C9C3715927BB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© 2018 Dynamic Communit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41053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black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17539" y="165462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2941" spc="-50" baseline="0">
                <a:solidFill>
                  <a:srgbClr val="1E275C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4549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680099" y="1187620"/>
            <a:ext cx="10794450" cy="2102828"/>
          </a:xfrm>
        </p:spPr>
        <p:txBody>
          <a:bodyPr lIns="182880" tIns="146304" rIns="182880" bIns="146304"/>
          <a:lstStyle>
            <a:lvl1pPr marL="0" indent="0" algn="ctr">
              <a:lnSpc>
                <a:spcPct val="70000"/>
              </a:lnSpc>
              <a:buNone/>
              <a:defRPr sz="8333" spc="-294">
                <a:effectLst>
                  <a:outerShdw blurRad="190500" dist="50800" dir="5400000" algn="ctr" rotWithShape="0">
                    <a:schemeClr val="bg1">
                      <a:alpha val="50000"/>
                    </a:schemeClr>
                  </a:outerShdw>
                </a:effectLst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9004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orient="horz" pos="105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9A02BEF8-82E2-4AB1-8F4F-45EB84B8D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451" y="440492"/>
            <a:ext cx="10757098" cy="672415"/>
          </a:xfrm>
        </p:spPr>
        <p:txBody>
          <a:bodyPr/>
          <a:lstStyle>
            <a:lvl1pPr>
              <a:defRPr sz="392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C8B9842-1635-4794-8014-BB4B9456DC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7354" y="1337045"/>
            <a:ext cx="10757099" cy="4258622"/>
          </a:xfrm>
        </p:spPr>
        <p:txBody>
          <a:bodyPr/>
          <a:lstStyle>
            <a:lvl1pPr marL="0" indent="0">
              <a:buNone/>
              <a:defRPr sz="3529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14099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orient="horz" pos="105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White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3625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Photo Title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84872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Narrow Photo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619" y="2241550"/>
            <a:ext cx="7648220" cy="4040188"/>
          </a:xfrm>
        </p:spPr>
        <p:txBody>
          <a:bodyPr/>
          <a:lstStyle>
            <a:lvl1pPr>
              <a:spcBef>
                <a:spcPts val="672"/>
              </a:spcBef>
              <a:defRPr/>
            </a:lvl1pPr>
            <a:lvl2pPr>
              <a:spcBef>
                <a:spcPts val="672"/>
              </a:spcBef>
              <a:defRPr/>
            </a:lvl2pPr>
            <a:lvl3pPr>
              <a:spcBef>
                <a:spcPts val="672"/>
              </a:spcBef>
              <a:defRPr/>
            </a:lvl3pPr>
            <a:lvl4pPr>
              <a:spcBef>
                <a:spcPts val="672"/>
              </a:spcBef>
              <a:defRPr/>
            </a:lvl4pPr>
            <a:lvl5pPr>
              <a:spcBef>
                <a:spcPts val="672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1938980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41">
          <p15:clr>
            <a:srgbClr val="FBAE40"/>
          </p15:clr>
        </p15:guide>
        <p15:guide id="2" pos="517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Gray To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279068" y="6337029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accent3"/>
                </a:solidFill>
              </a:rPr>
              <a:pPr algn="ctr"/>
              <a:t>‹#›</a:t>
            </a:fld>
            <a:endParaRPr lang="en-US" sz="1200">
              <a:solidFill>
                <a:schemeClr val="accent3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>
            <a:off x="182180" y="6334576"/>
            <a:ext cx="333200" cy="333200"/>
          </a:xfrm>
          <a:prstGeom prst="ellipse">
            <a:avLst/>
          </a:prstGeom>
          <a:noFill/>
          <a:ln w="635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0" hasCustomPrompt="1"/>
          </p:nvPr>
        </p:nvSpPr>
        <p:spPr>
          <a:xfrm>
            <a:off x="574623" y="2241551"/>
            <a:ext cx="11039527" cy="40401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36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26027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719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87550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hoto Title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3186" y="2241550"/>
            <a:ext cx="3796657" cy="194353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3186" y="4473116"/>
            <a:ext cx="3796657" cy="324036"/>
          </a:xfrm>
        </p:spPr>
        <p:txBody>
          <a:bodyPr wrap="square"/>
          <a:lstStyle>
            <a:lvl1pPr marL="0" indent="0" algn="l">
              <a:lnSpc>
                <a:spcPct val="90000"/>
              </a:lnSpc>
              <a:buNone/>
              <a:defRPr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05995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9">
          <p15:clr>
            <a:srgbClr val="FBAE40"/>
          </p15:clr>
        </p15:guide>
        <p15:guide id="2" pos="296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4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618" y="565150"/>
            <a:ext cx="7644384" cy="99164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618" y="2240868"/>
            <a:ext cx="11037531" cy="40408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3"/>
          <a:stretch>
            <a:fillRect/>
          </a:stretch>
        </p:blipFill>
        <p:spPr>
          <a:xfrm>
            <a:off x="12232613" y="-72922"/>
            <a:ext cx="503184" cy="440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91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959" r:id="rId2"/>
    <p:sldLayoutId id="2147483961" r:id="rId3"/>
    <p:sldLayoutId id="2147483984" r:id="rId4"/>
    <p:sldLayoutId id="2147483983" r:id="rId5"/>
    <p:sldLayoutId id="2147483960" r:id="rId6"/>
    <p:sldLayoutId id="2147483965" r:id="rId7"/>
    <p:sldLayoutId id="2147483982" r:id="rId8"/>
    <p:sldLayoutId id="2147483981" r:id="rId9"/>
    <p:sldLayoutId id="2147483966" r:id="rId10"/>
    <p:sldLayoutId id="2147483968" r:id="rId11"/>
    <p:sldLayoutId id="2147483980" r:id="rId12"/>
    <p:sldLayoutId id="2147483977" r:id="rId13"/>
    <p:sldLayoutId id="2147483907" r:id="rId14"/>
    <p:sldLayoutId id="2147483682" r:id="rId15"/>
    <p:sldLayoutId id="2147483974" r:id="rId16"/>
    <p:sldLayoutId id="2147483688" r:id="rId17"/>
    <p:sldLayoutId id="2147483924" r:id="rId18"/>
    <p:sldLayoutId id="2147483911" r:id="rId19"/>
    <p:sldLayoutId id="2147483913" r:id="rId20"/>
    <p:sldLayoutId id="2147483985" r:id="rId21"/>
    <p:sldLayoutId id="2147483986" r:id="rId22"/>
    <p:sldLayoutId id="2147483908" r:id="rId23"/>
    <p:sldLayoutId id="2147483914" r:id="rId24"/>
    <p:sldLayoutId id="2147483987" r:id="rId25"/>
    <p:sldLayoutId id="2147483988" r:id="rId26"/>
    <p:sldLayoutId id="2147483917" r:id="rId27"/>
    <p:sldLayoutId id="2147483919" r:id="rId28"/>
    <p:sldLayoutId id="2147483939" r:id="rId29"/>
    <p:sldLayoutId id="2147483991" r:id="rId30"/>
    <p:sldLayoutId id="2147483989" r:id="rId31"/>
    <p:sldLayoutId id="2147483938" r:id="rId32"/>
    <p:sldLayoutId id="2147483935" r:id="rId33"/>
    <p:sldLayoutId id="2147483990" r:id="rId34"/>
    <p:sldLayoutId id="2147483930" r:id="rId35"/>
    <p:sldLayoutId id="2147483932" r:id="rId36"/>
    <p:sldLayoutId id="2147483994" r:id="rId37"/>
    <p:sldLayoutId id="2147483992" r:id="rId38"/>
    <p:sldLayoutId id="2147483927" r:id="rId39"/>
    <p:sldLayoutId id="2147483931" r:id="rId40"/>
    <p:sldLayoutId id="2147483993" r:id="rId41"/>
    <p:sldLayoutId id="2147483975" r:id="rId42"/>
    <p:sldLayoutId id="2147483970" r:id="rId43"/>
    <p:sldLayoutId id="2147483976" r:id="rId44"/>
    <p:sldLayoutId id="2147483971" r:id="rId45"/>
    <p:sldLayoutId id="2147483973" r:id="rId46"/>
    <p:sldLayoutId id="2147483949" r:id="rId47"/>
    <p:sldLayoutId id="2147483979" r:id="rId48"/>
    <p:sldLayoutId id="2147483995" r:id="rId49"/>
    <p:sldLayoutId id="2147483996" r:id="rId50"/>
  </p:sldLayoutIdLst>
  <p:txStyles>
    <p:titleStyle>
      <a:lvl1pPr algn="l" defTabSz="1219170" rtl="0" eaLnBrk="1" latinLnBrk="0" hangingPunct="1">
        <a:lnSpc>
          <a:spcPct val="80000"/>
        </a:lnSpc>
        <a:spcBef>
          <a:spcPct val="0"/>
        </a:spcBef>
        <a:buNone/>
        <a:defRPr sz="4200" kern="800" spc="-1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lnSpc>
          <a:spcPct val="90000"/>
        </a:lnSpc>
        <a:spcBef>
          <a:spcPct val="20000"/>
        </a:spcBef>
        <a:buClrTx/>
        <a:buFont typeface="Arial" panose="020B0604020202020204" pitchFamily="34" charset="0"/>
        <a:buChar char="•"/>
        <a:defRPr sz="2800" kern="800" spc="-13" baseline="0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lnSpc>
          <a:spcPct val="90000"/>
        </a:lnSpc>
        <a:spcBef>
          <a:spcPct val="20000"/>
        </a:spcBef>
        <a:buClrTx/>
        <a:buFont typeface="Arial" panose="020B0604020202020204" pitchFamily="34" charset="0"/>
        <a:buChar char="–"/>
        <a:defRPr sz="2400" kern="800" baseline="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lnSpc>
          <a:spcPct val="90000"/>
        </a:lnSpc>
        <a:spcBef>
          <a:spcPct val="20000"/>
        </a:spcBef>
        <a:buClrTx/>
        <a:buFont typeface="Arial" panose="020B0604020202020204" pitchFamily="34" charset="0"/>
        <a:buChar char="•"/>
        <a:defRPr sz="2400" kern="800" baseline="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lnSpc>
          <a:spcPct val="90000"/>
        </a:lnSpc>
        <a:spcBef>
          <a:spcPct val="20000"/>
        </a:spcBef>
        <a:buClrTx/>
        <a:buFont typeface="Arial" panose="020B0604020202020204" pitchFamily="34" charset="0"/>
        <a:buChar char="–"/>
        <a:defRPr sz="2000" kern="800" baseline="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lnSpc>
          <a:spcPct val="90000"/>
        </a:lnSpc>
        <a:spcBef>
          <a:spcPct val="20000"/>
        </a:spcBef>
        <a:buClrTx/>
        <a:buFont typeface="Arial" panose="020B0604020202020204" pitchFamily="34" charset="0"/>
        <a:buChar char="»"/>
        <a:defRPr sz="2000" kern="8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60" userDrawn="1">
          <p15:clr>
            <a:srgbClr val="F26B43"/>
          </p15:clr>
        </p15:guide>
        <p15:guide id="2" pos="7316" userDrawn="1">
          <p15:clr>
            <a:srgbClr val="F26B43"/>
          </p15:clr>
        </p15:guide>
        <p15:guide id="3" orient="horz" pos="356" userDrawn="1">
          <p15:clr>
            <a:srgbClr val="F26B43"/>
          </p15:clr>
        </p15:guide>
        <p15:guide id="4" orient="horz" pos="3957" userDrawn="1">
          <p15:clr>
            <a:srgbClr val="F26B43"/>
          </p15:clr>
        </p15:guide>
        <p15:guide id="5" orient="horz" pos="1412" userDrawn="1">
          <p15:clr>
            <a:srgbClr val="F26B43"/>
          </p15:clr>
        </p15:guide>
        <p15:guide id="6" orient="horz" pos="9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7539" y="437380"/>
            <a:ext cx="10757010" cy="67552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17450" y="1337045"/>
            <a:ext cx="10757099" cy="4317356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 hidden="1"/>
          <p:cNvGrpSpPr/>
          <p:nvPr/>
        </p:nvGrpSpPr>
        <p:grpSpPr>
          <a:xfrm>
            <a:off x="12370974" y="-217"/>
            <a:ext cx="935476" cy="5654618"/>
            <a:chOff x="12618968" y="-221"/>
            <a:chExt cx="954234" cy="5767186"/>
          </a:xfrm>
        </p:grpSpPr>
        <p:grpSp>
          <p:nvGrpSpPr>
            <p:cNvPr id="6" name="Group 5"/>
            <p:cNvGrpSpPr/>
            <p:nvPr/>
          </p:nvGrpSpPr>
          <p:grpSpPr>
            <a:xfrm rot="5400000">
              <a:off x="11582060" y="1045295"/>
              <a:ext cx="2703053" cy="629235"/>
              <a:chOff x="1586734" y="4543426"/>
              <a:chExt cx="2703053" cy="629235"/>
            </a:xfrm>
          </p:grpSpPr>
          <p:sp>
            <p:nvSpPr>
              <p:cNvPr id="14" name="Rectangle 13"/>
              <p:cNvSpPr/>
              <p:nvPr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0 B:77</a:t>
                </a:r>
                <a:endParaRPr lang="en-US" sz="49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5</a:t>
                </a:r>
                <a:r>
                  <a:rPr lang="en-US" sz="49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24 B:193</a:t>
                </a:r>
                <a:endParaRPr lang="en-US" sz="49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3419856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ed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R:237</a:t>
                </a:r>
                <a:r>
                  <a:rPr lang="en-US" sz="490" baseline="0">
                    <a:gradFill>
                      <a:gsLst>
                        <a:gs pos="28302">
                          <a:schemeClr val="bg1"/>
                        </a:gs>
                        <a:gs pos="67000">
                          <a:schemeClr val="bg1"/>
                        </a:gs>
                      </a:gsLst>
                      <a:lin ang="5400000" scaled="1"/>
                    </a:gradFill>
                    <a:ea typeface="Segoe UI" pitchFamily="34" charset="0"/>
                    <a:cs typeface="Segoe UI" pitchFamily="34" charset="0"/>
                  </a:rPr>
                  <a:t> G:38 B:36</a:t>
                </a:r>
                <a:endParaRPr lang="en-US" sz="490">
                  <a:gradFill>
                    <a:gsLst>
                      <a:gs pos="28302">
                        <a:schemeClr val="bg1"/>
                      </a:gs>
                      <a:gs pos="67000">
                        <a:schemeClr val="bg1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1586734" y="4882895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old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4</a:t>
                </a:r>
                <a:r>
                  <a:rPr lang="en-US" sz="490" baseline="0">
                    <a:gradFill>
                      <a:gsLst>
                        <a:gs pos="4717">
                          <a:schemeClr val="tx1"/>
                        </a:gs>
                        <a:gs pos="36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97 B:35</a:t>
                </a:r>
                <a:endParaRPr lang="en-US" sz="490">
                  <a:gradFill>
                    <a:gsLst>
                      <a:gs pos="4717">
                        <a:schemeClr val="tx1"/>
                      </a:gs>
                      <a:gs pos="36000">
                        <a:schemeClr val="tx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 bwMode="auto">
              <a:xfrm>
                <a:off x="3419857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>
                    <a:gradFill>
                      <a:gsLst>
                        <a:gs pos="7547">
                          <a:schemeClr val="tx1"/>
                        </a:gs>
                        <a:gs pos="28302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86 G:216 B:10</a:t>
                </a:r>
                <a:endParaRPr lang="en-US" sz="490">
                  <a:gradFill>
                    <a:gsLst>
                      <a:gs pos="7547">
                        <a:schemeClr val="tx1"/>
                      </a:gs>
                      <a:gs pos="28302">
                        <a:schemeClr val="tx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Teal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</a:t>
                </a:r>
                <a:r>
                  <a:rPr lang="en-US" sz="490" baseline="0">
                    <a:gradFill>
                      <a:gsLst>
                        <a:gs pos="76415">
                          <a:schemeClr val="bg1"/>
                        </a:gs>
                        <a:gs pos="52000">
                          <a:schemeClr val="bg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30 B:114</a:t>
                </a:r>
                <a:endParaRPr lang="en-US" sz="490">
                  <a:gradFill>
                    <a:gsLst>
                      <a:gs pos="76415">
                        <a:schemeClr val="bg1"/>
                      </a:gs>
                      <a:gs pos="52000">
                        <a:schemeClr val="bg1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11" name="Rectangle 10"/>
              <p:cNvSpPr/>
              <p:nvPr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baseline="0">
                    <a:gradFill>
                      <a:gsLst>
                        <a:gs pos="16981">
                          <a:schemeClr val="tx1"/>
                        </a:gs>
                        <a:gs pos="48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lvl="0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baseline="0">
                    <a:gradFill>
                      <a:gsLst>
                        <a:gs pos="16981">
                          <a:schemeClr val="tx1"/>
                        </a:gs>
                        <a:gs pos="48000">
                          <a:schemeClr val="tx1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004B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Teal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</a:t>
                </a:r>
                <a:r>
                  <a:rPr lang="en-US" sz="49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75 B:80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50</a:t>
                </a:r>
                <a:r>
                  <a:rPr lang="en-US" sz="490" baseline="0">
                    <a:gradFill>
                      <a:gsLst>
                        <a:gs pos="2830">
                          <a:schemeClr val="bg2">
                            <a:lumMod val="10000"/>
                          </a:schemeClr>
                        </a:gs>
                        <a:gs pos="16981">
                          <a:schemeClr val="bg2">
                            <a:lumMod val="10000"/>
                          </a:schemeClr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 G:150 B:150</a:t>
                </a:r>
                <a:endParaRPr lang="en-US" sz="490">
                  <a:gradFill>
                    <a:gsLst>
                      <a:gs pos="2830">
                        <a:schemeClr val="bg2">
                          <a:lumMod val="10000"/>
                        </a:schemeClr>
                      </a:gs>
                      <a:gs pos="16981">
                        <a:schemeClr val="bg2">
                          <a:lumMod val="10000"/>
                        </a:schemeClr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D95D9E6-9C68-415C-87AE-50E3C628915F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2232613" y="-72922"/>
            <a:ext cx="503184" cy="440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6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33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40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23">
          <p15:clr>
            <a:srgbClr val="C35EA4"/>
          </p15:clr>
        </p15:guide>
        <p15:guide id="27" pos="360" userDrawn="1">
          <p15:clr>
            <a:srgbClr val="F26B43"/>
          </p15:clr>
        </p15:guide>
        <p15:guide id="28" pos="7316" userDrawn="1">
          <p15:clr>
            <a:srgbClr val="F26B43"/>
          </p15:clr>
        </p15:guide>
        <p15:guide id="29" orient="horz" pos="356" userDrawn="1">
          <p15:clr>
            <a:srgbClr val="F26B43"/>
          </p15:clr>
        </p15:guide>
        <p15:guide id="30" orient="horz" pos="3957" userDrawn="1">
          <p15:clr>
            <a:srgbClr val="F26B43"/>
          </p15:clr>
        </p15:guide>
        <p15:guide id="31" orient="horz" pos="1412" userDrawn="1">
          <p15:clr>
            <a:srgbClr val="F26B43"/>
          </p15:clr>
        </p15:guide>
        <p15:guide id="32" orient="horz" pos="9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blogs.microsoft.com/dynamics365/2016/05/26/16-top-customer-experience-takeaways-from-crm-evolution/" TargetMode="External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3" Type="http://schemas.openxmlformats.org/officeDocument/2006/relationships/image" Target="../media/image81.svg"/><Relationship Id="rId21" Type="http://schemas.openxmlformats.org/officeDocument/2006/relationships/image" Target="../media/image99.sv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image" Target="../media/image80.png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svg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19" Type="http://schemas.openxmlformats.org/officeDocument/2006/relationships/image" Target="../media/image97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business-applications-release-notes/April19/index" TargetMode="External"/><Relationship Id="rId1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Krishnam.nagapuri@columbusglobal.com" TargetMode="External"/><Relationship Id="rId1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4" Type="http://schemas.openxmlformats.org/officeDocument/2006/relationships/image" Target="../media/image5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diagramData" Target="../diagrams/data1.xml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58.png"/><Relationship Id="rId11" Type="http://schemas.microsoft.com/office/2007/relationships/diagramDrawing" Target="../diagrams/drawing1.xml"/><Relationship Id="rId5" Type="http://schemas.openxmlformats.org/officeDocument/2006/relationships/image" Target="../media/image57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56.png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63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3" Type="http://schemas.openxmlformats.org/officeDocument/2006/relationships/image" Target="../media/image66.svg"/><Relationship Id="rId7" Type="http://schemas.openxmlformats.org/officeDocument/2006/relationships/image" Target="../media/image70.svg"/><Relationship Id="rId12" Type="http://schemas.openxmlformats.org/officeDocument/2006/relationships/image" Target="../media/image75.png"/><Relationship Id="rId2" Type="http://schemas.openxmlformats.org/officeDocument/2006/relationships/image" Target="../media/image65.png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9.png"/><Relationship Id="rId11" Type="http://schemas.openxmlformats.org/officeDocument/2006/relationships/image" Target="../media/image74.svg"/><Relationship Id="rId5" Type="http://schemas.openxmlformats.org/officeDocument/2006/relationships/image" Target="../media/image68.svg"/><Relationship Id="rId15" Type="http://schemas.openxmlformats.org/officeDocument/2006/relationships/image" Target="../media/image7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svg"/><Relationship Id="rId14" Type="http://schemas.openxmlformats.org/officeDocument/2006/relationships/image" Target="../media/image7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EA7FEA09-9F86-4539-A31E-D55A6B4F0EC8}"/>
              </a:ext>
            </a:extLst>
          </p:cNvPr>
          <p:cNvSpPr txBox="1"/>
          <p:nvPr/>
        </p:nvSpPr>
        <p:spPr>
          <a:xfrm>
            <a:off x="3784831" y="2333935"/>
            <a:ext cx="8949166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367">
              <a:lnSpc>
                <a:spcPct val="90000"/>
              </a:lnSpc>
              <a:spcBef>
                <a:spcPct val="0"/>
              </a:spcBef>
            </a:pPr>
            <a:r>
              <a:rPr lang="en-US" sz="4000" spc="-100">
                <a:solidFill>
                  <a:schemeClr val="tx2"/>
                </a:solidFill>
                <a:latin typeface="+mj-lt"/>
                <a:ea typeface="segoe ui black"/>
                <a:cs typeface="Segoe UI"/>
              </a:rPr>
              <a:t>Personalize Consumer Experience with Dynamics 36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D0C252-4779-4E75-80F5-964968893FAF}"/>
              </a:ext>
            </a:extLst>
          </p:cNvPr>
          <p:cNvSpPr/>
          <p:nvPr/>
        </p:nvSpPr>
        <p:spPr>
          <a:xfrm>
            <a:off x="4126754" y="391327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/>
              <a:t>Presenter: Krishnam Nagapuri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45CF70-6B7B-4015-AA6D-26AE6DBBA5A9}"/>
              </a:ext>
            </a:extLst>
          </p:cNvPr>
          <p:cNvCxnSpPr/>
          <p:nvPr/>
        </p:nvCxnSpPr>
        <p:spPr>
          <a:xfrm>
            <a:off x="4166206" y="3913278"/>
            <a:ext cx="651672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736C8AA2-79A3-4510-A0F5-04DD849249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348" t="25" r="23677" b="50000"/>
          <a:stretch/>
        </p:blipFill>
        <p:spPr>
          <a:xfrm>
            <a:off x="987726" y="1688893"/>
            <a:ext cx="2662128" cy="268605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95917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08C523-6B96-4C0C-8C02-2F362EA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e Standard CRM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AA8103-1E38-4FB5-ADF7-FD5ED3B0E2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 typical CRM manages customer data which can be used to analyze and make informed decisions, drive sales and engage with customers</a:t>
            </a:r>
          </a:p>
          <a:p>
            <a:pPr marL="342900" indent="-342900">
              <a:spcAft>
                <a:spcPts val="600"/>
              </a:spcAft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 brings together</a:t>
            </a:r>
          </a:p>
          <a:p>
            <a:pPr marL="0" indent="0">
              <a:spcAft>
                <a:spcPts val="600"/>
              </a:spcAft>
              <a:buNone/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952485" lvl="1" indent="-342900"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rketing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les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er Service departments</a:t>
            </a:r>
          </a:p>
          <a:p>
            <a:pPr marL="342900" indent="-342900">
              <a:spcAft>
                <a:spcPts val="600"/>
              </a:spcAft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02201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80C834-CFDB-4050-B15A-0D5E9E512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e Future!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726CD0-675A-42D4-B2A9-BCF12F53CD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320" y="1337045"/>
            <a:ext cx="10749229" cy="433333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er experience (CX) involves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stening to customers,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nalyzing their buying trends,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eedback analysis from various sources,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 Store experience, </a:t>
            </a:r>
          </a:p>
          <a:p>
            <a:pPr marL="952485" lvl="1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st buying experience</a:t>
            </a:r>
          </a:p>
          <a:p>
            <a:pPr marL="342900" indent="-342900">
              <a:spcAft>
                <a:spcPts val="600"/>
              </a:spcAft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ersonalization has become the key for gaining customer loyalty and improving brand value</a:t>
            </a:r>
          </a:p>
          <a:p>
            <a:pPr marL="0" indent="0">
              <a:spcAft>
                <a:spcPts val="600"/>
              </a:spcAft>
              <a:buNone/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ad –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2"/>
              </a:rPr>
              <a:t>16 Top Customer Experience takeaways</a:t>
            </a:r>
            <a:endParaRPr lang="en-GB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spcAft>
                <a:spcPts val="600"/>
              </a:spcAft>
            </a:pPr>
            <a:endParaRPr lang="en-US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spcAft>
                <a:spcPts val="600"/>
              </a:spcAft>
            </a:pPr>
            <a:endParaRPr lang="en-GB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1175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A5CE673-A704-40B0-8652-6DBDF6C2351E}"/>
              </a:ext>
            </a:extLst>
          </p:cNvPr>
          <p:cNvGrpSpPr/>
          <p:nvPr/>
        </p:nvGrpSpPr>
        <p:grpSpPr>
          <a:xfrm>
            <a:off x="1097280" y="1112907"/>
            <a:ext cx="9591659" cy="4794649"/>
            <a:chOff x="164956" y="65211"/>
            <a:chExt cx="11745975" cy="587154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14A6FF5-C885-4BF2-A2E9-00AB797ECE3A}"/>
                </a:ext>
              </a:extLst>
            </p:cNvPr>
            <p:cNvGrpSpPr/>
            <p:nvPr/>
          </p:nvGrpSpPr>
          <p:grpSpPr>
            <a:xfrm>
              <a:off x="2590575" y="1297639"/>
              <a:ext cx="6891237" cy="3554899"/>
              <a:chOff x="2198962" y="1358718"/>
              <a:chExt cx="7511524" cy="3874878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D19969A2-9DCF-4144-BB60-F1F61B458967}"/>
                  </a:ext>
                </a:extLst>
              </p:cNvPr>
              <p:cNvGrpSpPr/>
              <p:nvPr/>
            </p:nvGrpSpPr>
            <p:grpSpPr>
              <a:xfrm>
                <a:off x="2198962" y="1358718"/>
                <a:ext cx="7511524" cy="3874878"/>
                <a:chOff x="4480496" y="4411680"/>
                <a:chExt cx="15648779" cy="8072553"/>
              </a:xfrm>
            </p:grpSpPr>
            <p:sp>
              <p:nvSpPr>
                <p:cNvPr id="71" name="Oval 70">
                  <a:extLst>
                    <a:ext uri="{FF2B5EF4-FFF2-40B4-BE49-F238E27FC236}">
                      <a16:creationId xmlns:a16="http://schemas.microsoft.com/office/drawing/2014/main" id="{5CD04ACD-345B-4D6F-A7A6-C03C900E66BA}"/>
                    </a:ext>
                  </a:extLst>
                </p:cNvPr>
                <p:cNvSpPr/>
                <p:nvPr/>
              </p:nvSpPr>
              <p:spPr>
                <a:xfrm>
                  <a:off x="8368050" y="4703049"/>
                  <a:ext cx="7580237" cy="7582206"/>
                </a:xfrm>
                <a:prstGeom prst="ellipse">
                  <a:avLst/>
                </a:prstGeom>
                <a:noFill/>
                <a:ln w="50800">
                  <a:solidFill>
                    <a:schemeClr val="tx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82843" tIns="91422" rIns="182843" bIns="91422" rtlCol="0" anchor="ctr"/>
                <a:lstStyle/>
                <a:p>
                  <a:pPr algn="ctr"/>
                  <a:endParaRPr lang="en-US" sz="6400" dirty="0">
                    <a:solidFill>
                      <a:schemeClr val="tx1"/>
                    </a:solidFill>
                    <a:latin typeface="Montserrat Light" charset="0"/>
                  </a:endParaRPr>
                </a:p>
              </p:txBody>
            </p: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6490718E-49F0-4A18-8695-C8CA2118CD34}"/>
                    </a:ext>
                  </a:extLst>
                </p:cNvPr>
                <p:cNvSpPr/>
                <p:nvPr/>
              </p:nvSpPr>
              <p:spPr>
                <a:xfrm>
                  <a:off x="4480496" y="5773609"/>
                  <a:ext cx="5439664" cy="544108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82843" tIns="91422" rIns="182843" bIns="91422" rtlCol="0" anchor="ctr"/>
                <a:lstStyle/>
                <a:p>
                  <a:pPr algn="ctr"/>
                  <a:endParaRPr lang="en-US" sz="6400" dirty="0">
                    <a:solidFill>
                      <a:schemeClr val="tx1"/>
                    </a:solidFill>
                    <a:latin typeface="Montserrat Light" charset="0"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15A64C25-7898-48E1-8F82-ADC5FE366BF6}"/>
                    </a:ext>
                  </a:extLst>
                </p:cNvPr>
                <p:cNvSpPr/>
                <p:nvPr/>
              </p:nvSpPr>
              <p:spPr>
                <a:xfrm>
                  <a:off x="14689608" y="5773609"/>
                  <a:ext cx="5439667" cy="5441081"/>
                </a:xfrm>
                <a:prstGeom prst="ellipse">
                  <a:avLst/>
                </a:prstGeom>
                <a:solidFill>
                  <a:srgbClr val="84BD00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82843" tIns="91422" rIns="182843" bIns="91422" rtlCol="0" anchor="ctr"/>
                <a:lstStyle/>
                <a:p>
                  <a:pPr algn="ctr"/>
                  <a:endParaRPr lang="en-US" sz="6400" dirty="0">
                    <a:solidFill>
                      <a:schemeClr val="tx1"/>
                    </a:solidFill>
                    <a:latin typeface="Montserrat Light" charset="0"/>
                  </a:endParaRP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C6F10698-05C1-4C36-A286-1CB2FC8BDD33}"/>
                    </a:ext>
                  </a:extLst>
                </p:cNvPr>
                <p:cNvSpPr txBox="1"/>
                <p:nvPr/>
              </p:nvSpPr>
              <p:spPr>
                <a:xfrm>
                  <a:off x="9789104" y="8780098"/>
                  <a:ext cx="5039224" cy="17973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800" dirty="0">
                      <a:solidFill>
                        <a:schemeClr val="tx2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rPr>
                    <a:t>Microsoft Dynamics 365</a:t>
                  </a:r>
                  <a:endParaRPr lang="en-US" sz="3200" dirty="0">
                    <a:solidFill>
                      <a:schemeClr val="tx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Roboto Light" panose="02000000000000000000" pitchFamily="2" charset="0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8D6F9EEB-35BA-4495-BF61-6A2A186792CD}"/>
                    </a:ext>
                  </a:extLst>
                </p:cNvPr>
                <p:cNvSpPr/>
                <p:nvPr/>
              </p:nvSpPr>
              <p:spPr>
                <a:xfrm flipH="1">
                  <a:off x="11906148" y="4411680"/>
                  <a:ext cx="504039" cy="50417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82843" tIns="91422" rIns="182843" bIns="91422" rtlCol="0" anchor="ctr"/>
                <a:lstStyle/>
                <a:p>
                  <a:pPr algn="ctr"/>
                  <a:endParaRPr lang="en-US" sz="6400" dirty="0">
                    <a:solidFill>
                      <a:schemeClr val="tx1"/>
                    </a:solidFill>
                    <a:latin typeface="Montserrat Light" charset="0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E95C3441-A69B-4FC8-BDA0-653B0A92CBFA}"/>
                    </a:ext>
                  </a:extLst>
                </p:cNvPr>
                <p:cNvSpPr/>
                <p:nvPr/>
              </p:nvSpPr>
              <p:spPr>
                <a:xfrm flipH="1">
                  <a:off x="11906148" y="11980063"/>
                  <a:ext cx="504039" cy="50417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82843" tIns="91422" rIns="182843" bIns="91422" rtlCol="0" anchor="ctr"/>
                <a:lstStyle/>
                <a:p>
                  <a:pPr algn="ctr"/>
                  <a:endParaRPr lang="en-US" sz="6400" dirty="0">
                    <a:solidFill>
                      <a:schemeClr val="tx1"/>
                    </a:solidFill>
                    <a:latin typeface="Montserrat Light" charset="0"/>
                  </a:endParaRPr>
                </a:p>
              </p:txBody>
            </p:sp>
          </p:grpSp>
          <p:pic>
            <p:nvPicPr>
              <p:cNvPr id="68" name="Graphic 67">
                <a:extLst>
                  <a:ext uri="{FF2B5EF4-FFF2-40B4-BE49-F238E27FC236}">
                    <a16:creationId xmlns:a16="http://schemas.microsoft.com/office/drawing/2014/main" id="{BA841DB3-5496-4181-B57C-C21FA8E0A8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990609" y="2868907"/>
                <a:ext cx="828675" cy="571500"/>
              </a:xfrm>
              <a:prstGeom prst="rect">
                <a:avLst/>
              </a:prstGeom>
            </p:spPr>
          </p:pic>
          <p:pic>
            <p:nvPicPr>
              <p:cNvPr id="69" name="Graphic 68">
                <a:extLst>
                  <a:ext uri="{FF2B5EF4-FFF2-40B4-BE49-F238E27FC236}">
                    <a16:creationId xmlns:a16="http://schemas.microsoft.com/office/drawing/2014/main" id="{57E55559-E59E-4C1E-99DF-5354B9B1D8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049339" y="2769375"/>
                <a:ext cx="847726" cy="847726"/>
              </a:xfrm>
              <a:prstGeom prst="rect">
                <a:avLst/>
              </a:prstGeom>
            </p:spPr>
          </p:pic>
          <p:pic>
            <p:nvPicPr>
              <p:cNvPr id="70" name="Picture 69" descr="A close up of a logo&#10;&#10;Description generated with high confidence">
                <a:extLst>
                  <a:ext uri="{FF2B5EF4-FFF2-40B4-BE49-F238E27FC236}">
                    <a16:creationId xmlns:a16="http://schemas.microsoft.com/office/drawing/2014/main" id="{E3D12919-9A50-418D-A18C-98DF53C268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55506" y="2156425"/>
                <a:ext cx="1158815" cy="1158815"/>
              </a:xfrm>
              <a:prstGeom prst="rect">
                <a:avLst/>
              </a:prstGeom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1783684-09D3-4713-8D54-F5766AF7AE2C}"/>
                </a:ext>
              </a:extLst>
            </p:cNvPr>
            <p:cNvGrpSpPr/>
            <p:nvPr/>
          </p:nvGrpSpPr>
          <p:grpSpPr>
            <a:xfrm>
              <a:off x="506669" y="65211"/>
              <a:ext cx="975657" cy="975657"/>
              <a:chOff x="954934" y="835247"/>
              <a:chExt cx="1293173" cy="1293173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C87B88F5-F909-483F-A573-D2CE4A214946}"/>
                  </a:ext>
                </a:extLst>
              </p:cNvPr>
              <p:cNvSpPr/>
              <p:nvPr/>
            </p:nvSpPr>
            <p:spPr bwMode="auto">
              <a:xfrm>
                <a:off x="954934" y="835247"/>
                <a:ext cx="1293173" cy="1293173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058ACA55-68FD-4F7D-9C33-4812D5D4A4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55882" y="1094565"/>
                <a:ext cx="733723" cy="759619"/>
              </a:xfrm>
              <a:prstGeom prst="rect">
                <a:avLst/>
              </a:prstGeom>
              <a:solidFill>
                <a:srgbClr val="17244F"/>
              </a:solidFill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64BBF6F-99CE-45CE-812A-A4BBD677F868}"/>
                </a:ext>
              </a:extLst>
            </p:cNvPr>
            <p:cNvGrpSpPr/>
            <p:nvPr/>
          </p:nvGrpSpPr>
          <p:grpSpPr>
            <a:xfrm>
              <a:off x="542975" y="1519107"/>
              <a:ext cx="939719" cy="939719"/>
              <a:chOff x="628689" y="2089067"/>
              <a:chExt cx="1156527" cy="1156527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7F86275-5B85-46D2-8E9A-AB3934FA8E5E}"/>
                  </a:ext>
                </a:extLst>
              </p:cNvPr>
              <p:cNvSpPr/>
              <p:nvPr/>
            </p:nvSpPr>
            <p:spPr bwMode="auto">
              <a:xfrm>
                <a:off x="628689" y="2089067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5919D2B7-F718-4DB6-8E17-3810FDD8AB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08676" y="2374985"/>
                <a:ext cx="537681" cy="605742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21896CF-90BD-4360-B741-9D9BC0742303}"/>
                </a:ext>
              </a:extLst>
            </p:cNvPr>
            <p:cNvGrpSpPr/>
            <p:nvPr/>
          </p:nvGrpSpPr>
          <p:grpSpPr>
            <a:xfrm>
              <a:off x="542975" y="3031014"/>
              <a:ext cx="939719" cy="939719"/>
              <a:chOff x="3402776" y="520559"/>
              <a:chExt cx="1156527" cy="1156527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5134274-3814-4BE9-A335-AA8824283F72}"/>
                  </a:ext>
                </a:extLst>
              </p:cNvPr>
              <p:cNvSpPr/>
              <p:nvPr/>
            </p:nvSpPr>
            <p:spPr bwMode="auto">
              <a:xfrm>
                <a:off x="3402776" y="520559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EFCEE791-0B43-45EA-B4BE-54C7A57323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653527" y="817174"/>
                <a:ext cx="667480" cy="550671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22F03C9-603E-4362-B192-A79EBA52B406}"/>
                </a:ext>
              </a:extLst>
            </p:cNvPr>
            <p:cNvGrpSpPr/>
            <p:nvPr/>
          </p:nvGrpSpPr>
          <p:grpSpPr>
            <a:xfrm>
              <a:off x="542975" y="4489138"/>
              <a:ext cx="939719" cy="939719"/>
              <a:chOff x="4848743" y="190030"/>
              <a:chExt cx="1156527" cy="1156527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DE792C7D-1B55-4EC1-8B34-220A1AEF3113}"/>
                  </a:ext>
                </a:extLst>
              </p:cNvPr>
              <p:cNvSpPr/>
              <p:nvPr/>
            </p:nvSpPr>
            <p:spPr bwMode="auto">
              <a:xfrm>
                <a:off x="4848743" y="190030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27951D0F-41C5-4EA0-92A4-E4545AFE81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146104" y="476150"/>
                <a:ext cx="572780" cy="565437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FA7D7E-5CD0-4586-B718-6C4A2E8877ED}"/>
                </a:ext>
              </a:extLst>
            </p:cNvPr>
            <p:cNvGrpSpPr/>
            <p:nvPr/>
          </p:nvGrpSpPr>
          <p:grpSpPr>
            <a:xfrm>
              <a:off x="10615126" y="2975320"/>
              <a:ext cx="939719" cy="939719"/>
              <a:chOff x="193174" y="211318"/>
              <a:chExt cx="1156527" cy="1156527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C44531E2-6985-4033-88F9-FD81C09C6E81}"/>
                  </a:ext>
                </a:extLst>
              </p:cNvPr>
              <p:cNvSpPr/>
              <p:nvPr/>
            </p:nvSpPr>
            <p:spPr bwMode="auto">
              <a:xfrm>
                <a:off x="193174" y="211318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1DFFF2F4-61DD-4F5B-8218-775CAC5961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59629" y="476150"/>
                <a:ext cx="623618" cy="597634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3E76403-66F0-47E9-9A45-D36E64F1A3AE}"/>
                </a:ext>
              </a:extLst>
            </p:cNvPr>
            <p:cNvGrpSpPr/>
            <p:nvPr/>
          </p:nvGrpSpPr>
          <p:grpSpPr>
            <a:xfrm>
              <a:off x="10615126" y="65211"/>
              <a:ext cx="939719" cy="939719"/>
              <a:chOff x="6705609" y="195820"/>
              <a:chExt cx="1156527" cy="1156527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0A5CAE23-668A-4328-B9C1-40D232EBB149}"/>
                  </a:ext>
                </a:extLst>
              </p:cNvPr>
              <p:cNvSpPr/>
              <p:nvPr/>
            </p:nvSpPr>
            <p:spPr bwMode="auto">
              <a:xfrm>
                <a:off x="6705609" y="195820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5ACCACC1-0AF8-42E0-AD3B-D3BC25CDD9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958483" y="433960"/>
                <a:ext cx="620058" cy="611325"/>
              </a:xfrm>
              <a:prstGeom prst="rect">
                <a:avLst/>
              </a:prstGeom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5A0F124-0DE4-4A0E-B0BD-C536C37727AC}"/>
                </a:ext>
              </a:extLst>
            </p:cNvPr>
            <p:cNvGrpSpPr/>
            <p:nvPr/>
          </p:nvGrpSpPr>
          <p:grpSpPr>
            <a:xfrm>
              <a:off x="10615126" y="1544939"/>
              <a:ext cx="939719" cy="939719"/>
              <a:chOff x="6111985" y="1461737"/>
              <a:chExt cx="1156527" cy="1156527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2D6CF088-41B5-4387-B069-73B874496BD1}"/>
                  </a:ext>
                </a:extLst>
              </p:cNvPr>
              <p:cNvSpPr/>
              <p:nvPr/>
            </p:nvSpPr>
            <p:spPr bwMode="auto">
              <a:xfrm>
                <a:off x="6111985" y="1461737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E76FC6B4-083C-405A-A095-C3EA86D3EF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392433" y="1739259"/>
                <a:ext cx="626352" cy="548058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B6CB6C6-5518-402B-A5C4-49139A63C3EF}"/>
                </a:ext>
              </a:extLst>
            </p:cNvPr>
            <p:cNvGrpSpPr/>
            <p:nvPr/>
          </p:nvGrpSpPr>
          <p:grpSpPr>
            <a:xfrm>
              <a:off x="4571615" y="65211"/>
              <a:ext cx="939719" cy="939719"/>
              <a:chOff x="465117" y="4254651"/>
              <a:chExt cx="1156527" cy="1156527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C3A2222B-E7B2-4FA5-BCDD-923DA69A7685}"/>
                  </a:ext>
                </a:extLst>
              </p:cNvPr>
              <p:cNvSpPr/>
              <p:nvPr/>
            </p:nvSpPr>
            <p:spPr bwMode="auto">
              <a:xfrm>
                <a:off x="465117" y="4254651"/>
                <a:ext cx="1156527" cy="1156527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FAD46F26-61A2-4730-BD88-4C9C162CE2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60376" y="4546782"/>
                <a:ext cx="622221" cy="622221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8A84497-AB0E-405F-A118-598AB0231A7E}"/>
                </a:ext>
              </a:extLst>
            </p:cNvPr>
            <p:cNvSpPr txBox="1"/>
            <p:nvPr/>
          </p:nvSpPr>
          <p:spPr>
            <a:xfrm>
              <a:off x="186888" y="2344218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ustomer Servic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F95FAE9-EA98-41C9-926E-1B5AA64F31A4}"/>
                </a:ext>
              </a:extLst>
            </p:cNvPr>
            <p:cNvSpPr txBox="1"/>
            <p:nvPr/>
          </p:nvSpPr>
          <p:spPr>
            <a:xfrm>
              <a:off x="2183773" y="890322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rket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EAF7529-F8F8-4AD6-901C-FE372E252EA2}"/>
                </a:ext>
              </a:extLst>
            </p:cNvPr>
            <p:cNvSpPr txBox="1"/>
            <p:nvPr/>
          </p:nvSpPr>
          <p:spPr>
            <a:xfrm>
              <a:off x="10259039" y="3813868"/>
              <a:ext cx="1651892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inance and Operation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A664ECF-EB3D-48BA-973C-7F4CBECCE9B1}"/>
                </a:ext>
              </a:extLst>
            </p:cNvPr>
            <p:cNvSpPr txBox="1"/>
            <p:nvPr/>
          </p:nvSpPr>
          <p:spPr>
            <a:xfrm>
              <a:off x="164956" y="890322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al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E21667-3115-4E97-9C1C-E0818142ACE6}"/>
                </a:ext>
              </a:extLst>
            </p:cNvPr>
            <p:cNvSpPr txBox="1"/>
            <p:nvPr/>
          </p:nvSpPr>
          <p:spPr>
            <a:xfrm>
              <a:off x="4202590" y="890322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Voice of Custom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4ADE668-3D14-4BC1-AF3B-88C3E6DF3DDF}"/>
                </a:ext>
              </a:extLst>
            </p:cNvPr>
            <p:cNvSpPr txBox="1"/>
            <p:nvPr/>
          </p:nvSpPr>
          <p:spPr>
            <a:xfrm>
              <a:off x="10259039" y="890322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etail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CCEE11B-1C4D-462E-AA65-709C29BDDAAC}"/>
                </a:ext>
              </a:extLst>
            </p:cNvPr>
            <p:cNvSpPr txBox="1"/>
            <p:nvPr/>
          </p:nvSpPr>
          <p:spPr>
            <a:xfrm>
              <a:off x="186888" y="5308890"/>
              <a:ext cx="1651892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ject Service Automation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7B0F536-FAAA-4662-8CFF-518E230D2097}"/>
                </a:ext>
              </a:extLst>
            </p:cNvPr>
            <p:cNvSpPr txBox="1"/>
            <p:nvPr/>
          </p:nvSpPr>
          <p:spPr>
            <a:xfrm>
              <a:off x="186888" y="3856095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ield Servic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85DD6EC-A89C-45CC-8ECD-55E59BBD0132}"/>
                </a:ext>
              </a:extLst>
            </p:cNvPr>
            <p:cNvSpPr txBox="1"/>
            <p:nvPr/>
          </p:nvSpPr>
          <p:spPr>
            <a:xfrm>
              <a:off x="10259039" y="2355555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len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BF60E05-8753-410F-8DFC-472C246D43E1}"/>
                </a:ext>
              </a:extLst>
            </p:cNvPr>
            <p:cNvSpPr txBox="1"/>
            <p:nvPr/>
          </p:nvSpPr>
          <p:spPr>
            <a:xfrm>
              <a:off x="7078013" y="5308890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wer BI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F15C8CF-99BB-41A4-ACFC-EC5EC3B18466}"/>
                </a:ext>
              </a:extLst>
            </p:cNvPr>
            <p:cNvGrpSpPr/>
            <p:nvPr/>
          </p:nvGrpSpPr>
          <p:grpSpPr>
            <a:xfrm>
              <a:off x="2579434" y="4489138"/>
              <a:ext cx="939719" cy="939719"/>
              <a:chOff x="7605891" y="4681634"/>
              <a:chExt cx="939719" cy="939719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8716AD87-1526-4A8E-BDFB-9ABFBC5F252D}"/>
                  </a:ext>
                </a:extLst>
              </p:cNvPr>
              <p:cNvSpPr/>
              <p:nvPr/>
            </p:nvSpPr>
            <p:spPr bwMode="auto">
              <a:xfrm>
                <a:off x="7605891" y="4681634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0" name="Picture 49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8D145664-4333-44C9-B06F-EAE5FBE8A9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790130" y="4950631"/>
                <a:ext cx="584656" cy="470266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74BA64-4173-4ED0-8F41-C400F330BC5F}"/>
                </a:ext>
              </a:extLst>
            </p:cNvPr>
            <p:cNvGrpSpPr/>
            <p:nvPr/>
          </p:nvGrpSpPr>
          <p:grpSpPr>
            <a:xfrm>
              <a:off x="6586119" y="65211"/>
              <a:ext cx="939719" cy="939719"/>
              <a:chOff x="766998" y="66787"/>
              <a:chExt cx="939719" cy="939719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80AE67ED-ACBE-4B3E-BDA3-76E31FB0A8DF}"/>
                  </a:ext>
                </a:extLst>
              </p:cNvPr>
              <p:cNvSpPr/>
              <p:nvPr/>
            </p:nvSpPr>
            <p:spPr bwMode="auto">
              <a:xfrm>
                <a:off x="766998" y="66787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8" name="Picture 47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911CADFC-4A22-4A07-B7C4-8BA07BA5DA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06723" y="212492"/>
                <a:ext cx="660269" cy="605725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8B6CA81-B3C7-4941-9DD4-E9EDED6C6465}"/>
                </a:ext>
              </a:extLst>
            </p:cNvPr>
            <p:cNvGrpSpPr/>
            <p:nvPr/>
          </p:nvGrpSpPr>
          <p:grpSpPr>
            <a:xfrm>
              <a:off x="8600695" y="4489138"/>
              <a:ext cx="939719" cy="939719"/>
              <a:chOff x="9569637" y="4765212"/>
              <a:chExt cx="939719" cy="939719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66C68E41-5CB2-4A6F-BF1F-3547D42E7019}"/>
                  </a:ext>
                </a:extLst>
              </p:cNvPr>
              <p:cNvSpPr/>
              <p:nvPr/>
            </p:nvSpPr>
            <p:spPr bwMode="auto">
              <a:xfrm>
                <a:off x="9569637" y="4765212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6" name="Picture 45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23E12594-D9A5-4420-BC4E-C538130458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9639496" y="4930309"/>
                <a:ext cx="800000" cy="609524"/>
              </a:xfrm>
              <a:prstGeom prst="rect">
                <a:avLst/>
              </a:prstGeom>
            </p:spPr>
          </p:pic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D3D1948-BB56-43DA-9BD1-EEAF0D522DF2}"/>
                </a:ext>
              </a:extLst>
            </p:cNvPr>
            <p:cNvGrpSpPr/>
            <p:nvPr/>
          </p:nvGrpSpPr>
          <p:grpSpPr>
            <a:xfrm>
              <a:off x="7434100" y="4489138"/>
              <a:ext cx="939719" cy="939719"/>
              <a:chOff x="8540336" y="426503"/>
              <a:chExt cx="939719" cy="939719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329AA356-C5E4-4910-875B-CB7F4DA52D46}"/>
                  </a:ext>
                </a:extLst>
              </p:cNvPr>
              <p:cNvSpPr/>
              <p:nvPr/>
            </p:nvSpPr>
            <p:spPr bwMode="auto">
              <a:xfrm>
                <a:off x="8540336" y="426503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4" name="Picture 43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25B5B481-8E55-4613-BA9C-ED158E6927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718414" y="674292"/>
                <a:ext cx="593911" cy="479297"/>
              </a:xfrm>
              <a:prstGeom prst="rect">
                <a:avLst/>
              </a:prstGeom>
            </p:spPr>
          </p:pic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1C747D2-234E-47A5-94B1-9B3A32487E9B}"/>
                </a:ext>
              </a:extLst>
            </p:cNvPr>
            <p:cNvSpPr txBox="1"/>
            <p:nvPr/>
          </p:nvSpPr>
          <p:spPr>
            <a:xfrm>
              <a:off x="2223347" y="5308890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low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70284A-9C7B-46A0-9C00-996C6CFDD398}"/>
                </a:ext>
              </a:extLst>
            </p:cNvPr>
            <p:cNvSpPr txBox="1"/>
            <p:nvPr/>
          </p:nvSpPr>
          <p:spPr>
            <a:xfrm>
              <a:off x="8244608" y="5308890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wer App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F45F6DF-4557-42B7-B3BF-6A6F5FBBCB92}"/>
                </a:ext>
              </a:extLst>
            </p:cNvPr>
            <p:cNvSpPr txBox="1"/>
            <p:nvPr/>
          </p:nvSpPr>
          <p:spPr>
            <a:xfrm>
              <a:off x="6221407" y="890322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orm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12C6B0-DD21-491D-BC9B-1077D5C8A7F2}"/>
                </a:ext>
              </a:extLst>
            </p:cNvPr>
            <p:cNvSpPr txBox="1"/>
            <p:nvPr/>
          </p:nvSpPr>
          <p:spPr>
            <a:xfrm>
              <a:off x="3034623" y="3402624"/>
              <a:ext cx="1368322" cy="76888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solidFill>
                    <a:schemeClr val="bg1"/>
                  </a:solidFill>
                </a:rPr>
                <a:t>CRM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FD2CC48-1794-4B70-9BB4-6519226C94D4}"/>
                </a:ext>
              </a:extLst>
            </p:cNvPr>
            <p:cNvSpPr txBox="1"/>
            <p:nvPr/>
          </p:nvSpPr>
          <p:spPr>
            <a:xfrm>
              <a:off x="7671648" y="3402624"/>
              <a:ext cx="1224866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solidFill>
                    <a:schemeClr val="bg1"/>
                  </a:solidFill>
                </a:rPr>
                <a:t>ERP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454FCE3-8884-4448-A100-80E02FE7DA95}"/>
                </a:ext>
              </a:extLst>
            </p:cNvPr>
            <p:cNvGrpSpPr/>
            <p:nvPr/>
          </p:nvGrpSpPr>
          <p:grpSpPr>
            <a:xfrm>
              <a:off x="2557111" y="65211"/>
              <a:ext cx="939719" cy="939719"/>
              <a:chOff x="2048168" y="520299"/>
              <a:chExt cx="939719" cy="939719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25E55A89-7A28-45BF-B5A5-F526A99F93FE}"/>
                  </a:ext>
                </a:extLst>
              </p:cNvPr>
              <p:cNvSpPr/>
              <p:nvPr/>
            </p:nvSpPr>
            <p:spPr bwMode="auto">
              <a:xfrm>
                <a:off x="2048168" y="520299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2" name="Picture 41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BD680116-30F2-4FFA-B884-0D849ECD09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2224856" y="731744"/>
                <a:ext cx="569147" cy="522130"/>
              </a:xfrm>
              <a:prstGeom prst="rect">
                <a:avLst/>
              </a:prstGeom>
            </p:spPr>
          </p:pic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AC2D073-FE23-4B6B-9B13-6822ECFDF879}"/>
                </a:ext>
              </a:extLst>
            </p:cNvPr>
            <p:cNvGrpSpPr/>
            <p:nvPr/>
          </p:nvGrpSpPr>
          <p:grpSpPr>
            <a:xfrm>
              <a:off x="10615126" y="4489138"/>
              <a:ext cx="939719" cy="939719"/>
              <a:chOff x="11697052" y="3881719"/>
              <a:chExt cx="939719" cy="939719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8B2417B1-F3B4-423A-812A-51E73A2EBB12}"/>
                  </a:ext>
                </a:extLst>
              </p:cNvPr>
              <p:cNvSpPr/>
              <p:nvPr/>
            </p:nvSpPr>
            <p:spPr bwMode="auto">
              <a:xfrm>
                <a:off x="11697052" y="3881719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0" name="Graphic 39" descr="Database">
                <a:extLst>
                  <a:ext uri="{FF2B5EF4-FFF2-40B4-BE49-F238E27FC236}">
                    <a16:creationId xmlns:a16="http://schemas.microsoft.com/office/drawing/2014/main" id="{B5CCADE3-82A9-4A45-A6A9-E78FE15D33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11809163" y="3978063"/>
                <a:ext cx="715496" cy="715496"/>
              </a:xfrm>
              <a:prstGeom prst="rect">
                <a:avLst/>
              </a:prstGeom>
            </p:spPr>
          </p:pic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2FC2FFB-B2F5-4A2D-83C4-BD9E0EBE2B49}"/>
                </a:ext>
              </a:extLst>
            </p:cNvPr>
            <p:cNvSpPr txBox="1"/>
            <p:nvPr/>
          </p:nvSpPr>
          <p:spPr>
            <a:xfrm>
              <a:off x="10259039" y="5308890"/>
              <a:ext cx="1651892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D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6685EF6-7574-4B45-9EBA-7CE105328726}"/>
                </a:ext>
              </a:extLst>
            </p:cNvPr>
            <p:cNvSpPr txBox="1"/>
            <p:nvPr/>
          </p:nvSpPr>
          <p:spPr>
            <a:xfrm>
              <a:off x="8240224" y="853746"/>
              <a:ext cx="1651892" cy="704808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ocial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gagement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1B376FF-E52C-4DAE-9AAC-A0CA10F027FC}"/>
                </a:ext>
              </a:extLst>
            </p:cNvPr>
            <p:cNvGrpSpPr/>
            <p:nvPr/>
          </p:nvGrpSpPr>
          <p:grpSpPr>
            <a:xfrm>
              <a:off x="8600623" y="65211"/>
              <a:ext cx="939719" cy="939719"/>
              <a:chOff x="8600623" y="28635"/>
              <a:chExt cx="939719" cy="939719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8EED32F-76EE-4468-AC61-79A78163A638}"/>
                  </a:ext>
                </a:extLst>
              </p:cNvPr>
              <p:cNvSpPr/>
              <p:nvPr/>
            </p:nvSpPr>
            <p:spPr bwMode="auto">
              <a:xfrm>
                <a:off x="8600623" y="28635"/>
                <a:ext cx="939719" cy="939719"/>
              </a:xfrm>
              <a:prstGeom prst="ellipse">
                <a:avLst/>
              </a:prstGeom>
              <a:solidFill>
                <a:srgbClr val="17244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38" name="Picture 37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29908B4A-268E-4933-A8C2-B99C4EA181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771898" y="260195"/>
                <a:ext cx="597057" cy="547735"/>
              </a:xfrm>
              <a:prstGeom prst="rect">
                <a:avLst/>
              </a:prstGeom>
            </p:spPr>
          </p:pic>
        </p:grpSp>
      </p:grpSp>
      <p:sp>
        <p:nvSpPr>
          <p:cNvPr id="77" name="Title 76">
            <a:extLst>
              <a:ext uri="{FF2B5EF4-FFF2-40B4-BE49-F238E27FC236}">
                <a16:creationId xmlns:a16="http://schemas.microsoft.com/office/drawing/2014/main" id="{77D96A70-FE82-48F0-903C-95CE1ADAE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4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y Dynamics 365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04995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0C1F6D8-0766-4C4B-A31D-ABBA4EC8C8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559" y="1013603"/>
            <a:ext cx="9019675" cy="483079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8BB1CFD-582F-4F53-93BE-57914260B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Experi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246691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77">
            <a:extLst>
              <a:ext uri="{FF2B5EF4-FFF2-40B4-BE49-F238E27FC236}">
                <a16:creationId xmlns:a16="http://schemas.microsoft.com/office/drawing/2014/main" id="{3785E437-ACF9-459D-838B-7C5A233E7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D365 CE – Key to Customer Experience</a:t>
            </a:r>
            <a:endParaRPr lang="en-US" dirty="0"/>
          </a:p>
        </p:txBody>
      </p:sp>
      <p:graphicFrame>
        <p:nvGraphicFramePr>
          <p:cNvPr id="81" name="Diagram 80">
            <a:extLst>
              <a:ext uri="{FF2B5EF4-FFF2-40B4-BE49-F238E27FC236}">
                <a16:creationId xmlns:a16="http://schemas.microsoft.com/office/drawing/2014/main" id="{2D390806-10E5-4CB5-A5F2-D9785D136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9537530"/>
              </p:ext>
            </p:extLst>
          </p:nvPr>
        </p:nvGraphicFramePr>
        <p:xfrm>
          <a:off x="2877655" y="1728307"/>
          <a:ext cx="5054951" cy="3463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FA376C8B-C97F-404B-8DEA-5E5B2A51C59D}"/>
              </a:ext>
            </a:extLst>
          </p:cNvPr>
          <p:cNvSpPr/>
          <p:nvPr/>
        </p:nvSpPr>
        <p:spPr>
          <a:xfrm>
            <a:off x="547293" y="2317346"/>
            <a:ext cx="1649178" cy="609633"/>
          </a:xfrm>
          <a:prstGeom prst="roundRect">
            <a:avLst/>
          </a:prstGeom>
          <a:solidFill>
            <a:srgbClr val="17244F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Forms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40DEFF12-42FA-4583-83D2-0CECA48FCAE7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196471" y="2622163"/>
            <a:ext cx="681184" cy="838018"/>
          </a:xfrm>
          <a:prstGeom prst="line">
            <a:avLst/>
          </a:prstGeom>
          <a:ln w="38100">
            <a:solidFill>
              <a:srgbClr val="3F454F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F59DF33-EF75-41A2-9F1F-3A0DD88DA36C}"/>
              </a:ext>
            </a:extLst>
          </p:cNvPr>
          <p:cNvSpPr/>
          <p:nvPr/>
        </p:nvSpPr>
        <p:spPr>
          <a:xfrm>
            <a:off x="547293" y="3140178"/>
            <a:ext cx="1649178" cy="609633"/>
          </a:xfrm>
          <a:prstGeom prst="roundRect">
            <a:avLst/>
          </a:prstGeom>
          <a:solidFill>
            <a:srgbClr val="17244F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ocial Engagement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2782A0E-D7F3-406A-A4D6-E8A356D6A521}"/>
              </a:ext>
            </a:extLst>
          </p:cNvPr>
          <p:cNvCxnSpPr>
            <a:cxnSpLocks/>
            <a:stCxn id="84" idx="3"/>
            <a:endCxn id="81" idx="1"/>
          </p:cNvCxnSpPr>
          <p:nvPr/>
        </p:nvCxnSpPr>
        <p:spPr>
          <a:xfrm>
            <a:off x="2196471" y="3444995"/>
            <a:ext cx="681184" cy="15186"/>
          </a:xfrm>
          <a:prstGeom prst="line">
            <a:avLst/>
          </a:prstGeom>
          <a:ln w="38100">
            <a:solidFill>
              <a:srgbClr val="3F454F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1A44BFD6-6E49-41DD-B000-4BE6CEA96FA6}"/>
              </a:ext>
            </a:extLst>
          </p:cNvPr>
          <p:cNvSpPr/>
          <p:nvPr/>
        </p:nvSpPr>
        <p:spPr>
          <a:xfrm>
            <a:off x="577022" y="4022202"/>
            <a:ext cx="1649178" cy="609633"/>
          </a:xfrm>
          <a:prstGeom prst="roundRect">
            <a:avLst/>
          </a:prstGeom>
          <a:solidFill>
            <a:srgbClr val="17244F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LinkedIn Leads Gen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A60FE6D-7199-48DD-838A-DBC610C92C3A}"/>
              </a:ext>
            </a:extLst>
          </p:cNvPr>
          <p:cNvCxnSpPr>
            <a:cxnSpLocks/>
            <a:stCxn id="86" idx="3"/>
            <a:endCxn id="81" idx="1"/>
          </p:cNvCxnSpPr>
          <p:nvPr/>
        </p:nvCxnSpPr>
        <p:spPr>
          <a:xfrm flipV="1">
            <a:off x="2226200" y="3460181"/>
            <a:ext cx="651455" cy="866838"/>
          </a:xfrm>
          <a:prstGeom prst="line">
            <a:avLst/>
          </a:prstGeom>
          <a:ln w="38100">
            <a:solidFill>
              <a:srgbClr val="3F454F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81AECA61-2138-4531-B987-AD3B836701A2}"/>
              </a:ext>
            </a:extLst>
          </p:cNvPr>
          <p:cNvSpPr/>
          <p:nvPr/>
        </p:nvSpPr>
        <p:spPr>
          <a:xfrm>
            <a:off x="2838239" y="1370287"/>
            <a:ext cx="1381741" cy="894988"/>
          </a:xfrm>
          <a:prstGeom prst="roundRect">
            <a:avLst/>
          </a:prstGeom>
          <a:ln>
            <a:solidFill>
              <a:srgbClr val="3F454F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vent</a:t>
            </a:r>
          </a:p>
          <a:p>
            <a:pPr algn="ctr"/>
            <a:r>
              <a:rPr lang="en-US" sz="1400" dirty="0"/>
              <a:t>Portal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BD06128-62BE-4BA6-8BAD-E1A041D1D04A}"/>
              </a:ext>
            </a:extLst>
          </p:cNvPr>
          <p:cNvCxnSpPr/>
          <p:nvPr/>
        </p:nvCxnSpPr>
        <p:spPr>
          <a:xfrm flipH="1">
            <a:off x="3529110" y="2327403"/>
            <a:ext cx="1" cy="544803"/>
          </a:xfrm>
          <a:prstGeom prst="straightConnector1">
            <a:avLst/>
          </a:prstGeom>
          <a:ln w="57150">
            <a:solidFill>
              <a:srgbClr val="3F454F"/>
            </a:solidFill>
            <a:headEnd w="med" len="med"/>
            <a:tailEnd type="stealth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1F97D236-BD77-4690-9D5A-0335802218B0}"/>
              </a:ext>
            </a:extLst>
          </p:cNvPr>
          <p:cNvSpPr/>
          <p:nvPr/>
        </p:nvSpPr>
        <p:spPr>
          <a:xfrm>
            <a:off x="4689241" y="1370287"/>
            <a:ext cx="1381741" cy="894988"/>
          </a:xfrm>
          <a:prstGeom prst="roundRect">
            <a:avLst/>
          </a:prstGeom>
          <a:ln>
            <a:solidFill>
              <a:srgbClr val="3F454F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artner</a:t>
            </a:r>
          </a:p>
          <a:p>
            <a:pPr algn="ctr"/>
            <a:r>
              <a:rPr lang="en-US" sz="1400" dirty="0"/>
              <a:t>Portal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E0B3F218-845D-462B-AF22-153CE3C353CD}"/>
              </a:ext>
            </a:extLst>
          </p:cNvPr>
          <p:cNvCxnSpPr/>
          <p:nvPr/>
        </p:nvCxnSpPr>
        <p:spPr>
          <a:xfrm flipH="1">
            <a:off x="5380112" y="2327403"/>
            <a:ext cx="1" cy="544803"/>
          </a:xfrm>
          <a:prstGeom prst="straightConnector1">
            <a:avLst/>
          </a:prstGeom>
          <a:ln w="57150">
            <a:solidFill>
              <a:srgbClr val="3F454F"/>
            </a:solidFill>
            <a:headEnd type="stealth" w="med" len="med"/>
            <a:tailEnd type="stealth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C8081468-1724-49B1-9AAF-753B481D7E07}"/>
              </a:ext>
            </a:extLst>
          </p:cNvPr>
          <p:cNvSpPr/>
          <p:nvPr/>
        </p:nvSpPr>
        <p:spPr>
          <a:xfrm>
            <a:off x="4714259" y="4632959"/>
            <a:ext cx="1381741" cy="894988"/>
          </a:xfrm>
          <a:prstGeom prst="roundRect">
            <a:avLst/>
          </a:prstGeom>
          <a:ln>
            <a:solidFill>
              <a:srgbClr val="3F454F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RP+</a:t>
            </a:r>
          </a:p>
          <a:p>
            <a:pPr algn="ctr"/>
            <a:r>
              <a:rPr lang="en-US" sz="1400" dirty="0"/>
              <a:t>Retail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FC1EF6F8-2D9C-4051-BE02-BA03897A3C81}"/>
              </a:ext>
            </a:extLst>
          </p:cNvPr>
          <p:cNvSpPr/>
          <p:nvPr/>
        </p:nvSpPr>
        <p:spPr>
          <a:xfrm>
            <a:off x="6501330" y="4655088"/>
            <a:ext cx="1542906" cy="894988"/>
          </a:xfrm>
          <a:prstGeom prst="roundRect">
            <a:avLst/>
          </a:prstGeom>
          <a:ln>
            <a:solidFill>
              <a:srgbClr val="3F454F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ortals Customer Service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B08E441D-64DD-4C0C-871E-9B34468BB19A}"/>
              </a:ext>
            </a:extLst>
          </p:cNvPr>
          <p:cNvCxnSpPr/>
          <p:nvPr/>
        </p:nvCxnSpPr>
        <p:spPr>
          <a:xfrm flipH="1">
            <a:off x="7272783" y="4054603"/>
            <a:ext cx="1" cy="544803"/>
          </a:xfrm>
          <a:prstGeom prst="straightConnector1">
            <a:avLst/>
          </a:prstGeom>
          <a:ln w="57150">
            <a:solidFill>
              <a:srgbClr val="3F454F"/>
            </a:solidFill>
            <a:headEnd type="stealth" w="med" len="med"/>
            <a:tailEnd type="stealth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374A3DD-FDE6-4861-B7FB-10B0C459120E}"/>
              </a:ext>
            </a:extLst>
          </p:cNvPr>
          <p:cNvCxnSpPr/>
          <p:nvPr/>
        </p:nvCxnSpPr>
        <p:spPr>
          <a:xfrm flipH="1">
            <a:off x="5405130" y="4054616"/>
            <a:ext cx="1" cy="544803"/>
          </a:xfrm>
          <a:prstGeom prst="straightConnector1">
            <a:avLst/>
          </a:prstGeom>
          <a:ln w="57150">
            <a:solidFill>
              <a:srgbClr val="3F454F"/>
            </a:solidFill>
            <a:headEnd type="stealth" w="med" len="med"/>
            <a:tailEnd type="stealth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E5900CE7-7B45-41A1-BEA1-642FFF297A08}"/>
              </a:ext>
            </a:extLst>
          </p:cNvPr>
          <p:cNvSpPr/>
          <p:nvPr/>
        </p:nvSpPr>
        <p:spPr>
          <a:xfrm rot="3019472">
            <a:off x="2436263" y="2581547"/>
            <a:ext cx="466528" cy="40877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Flo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1E27C0CE-843F-49A7-BC9B-C0AB402D54EC}"/>
              </a:ext>
            </a:extLst>
          </p:cNvPr>
          <p:cNvSpPr/>
          <p:nvPr/>
        </p:nvSpPr>
        <p:spPr>
          <a:xfrm>
            <a:off x="8889150" y="3057470"/>
            <a:ext cx="2183475" cy="76716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Field Service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8914E6F6-C491-44C2-ACBD-4E28EF847AE3}"/>
              </a:ext>
            </a:extLst>
          </p:cNvPr>
          <p:cNvSpPr/>
          <p:nvPr/>
        </p:nvSpPr>
        <p:spPr>
          <a:xfrm>
            <a:off x="8870806" y="4429130"/>
            <a:ext cx="929452" cy="649140"/>
          </a:xfrm>
          <a:prstGeom prst="roundRect">
            <a:avLst/>
          </a:prstGeom>
          <a:solidFill>
            <a:srgbClr val="84B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IoT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887C80B5-5449-48CE-81D5-432DC6F8647C}"/>
              </a:ext>
            </a:extLst>
          </p:cNvPr>
          <p:cNvSpPr/>
          <p:nvPr/>
        </p:nvSpPr>
        <p:spPr>
          <a:xfrm>
            <a:off x="10022030" y="4429130"/>
            <a:ext cx="1608213" cy="649140"/>
          </a:xfrm>
          <a:prstGeom prst="roundRect">
            <a:avLst/>
          </a:prstGeom>
          <a:solidFill>
            <a:srgbClr val="84B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Azure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C0BA98D5-02C8-4DF3-B2AB-CDA5AF182A1F}"/>
              </a:ext>
            </a:extLst>
          </p:cNvPr>
          <p:cNvSpPr/>
          <p:nvPr/>
        </p:nvSpPr>
        <p:spPr>
          <a:xfrm>
            <a:off x="8623475" y="4327019"/>
            <a:ext cx="3192987" cy="89498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4A9595F-45F5-4E66-BC0B-A709F707975D}"/>
              </a:ext>
            </a:extLst>
          </p:cNvPr>
          <p:cNvSpPr txBox="1"/>
          <p:nvPr/>
        </p:nvSpPr>
        <p:spPr>
          <a:xfrm>
            <a:off x="9505567" y="5297114"/>
            <a:ext cx="11064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FS</a:t>
            </a:r>
          </a:p>
        </p:txBody>
      </p:sp>
      <p:sp>
        <p:nvSpPr>
          <p:cNvPr id="102" name="Plus Sign 101">
            <a:extLst>
              <a:ext uri="{FF2B5EF4-FFF2-40B4-BE49-F238E27FC236}">
                <a16:creationId xmlns:a16="http://schemas.microsoft.com/office/drawing/2014/main" id="{F414B465-13C2-4393-A435-F512FB49EEDB}"/>
              </a:ext>
            </a:extLst>
          </p:cNvPr>
          <p:cNvSpPr/>
          <p:nvPr/>
        </p:nvSpPr>
        <p:spPr>
          <a:xfrm>
            <a:off x="9926032" y="3893700"/>
            <a:ext cx="265561" cy="29260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5532551-2914-4E5F-B3F9-CB803153B956}"/>
              </a:ext>
            </a:extLst>
          </p:cNvPr>
          <p:cNvCxnSpPr>
            <a:cxnSpLocks/>
          </p:cNvCxnSpPr>
          <p:nvPr/>
        </p:nvCxnSpPr>
        <p:spPr>
          <a:xfrm flipH="1">
            <a:off x="8044236" y="3460181"/>
            <a:ext cx="760214" cy="0"/>
          </a:xfrm>
          <a:prstGeom prst="straightConnector1">
            <a:avLst/>
          </a:prstGeom>
          <a:ln w="76200">
            <a:solidFill>
              <a:srgbClr val="3F454F"/>
            </a:solidFill>
            <a:headEnd type="stealth" w="med" len="med"/>
            <a:tailEnd type="stealth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48018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89A886-17E4-4A35-9831-66812DDD2495}"/>
              </a:ext>
            </a:extLst>
          </p:cNvPr>
          <p:cNvSpPr txBox="1"/>
          <p:nvPr/>
        </p:nvSpPr>
        <p:spPr>
          <a:xfrm>
            <a:off x="717451" y="124287"/>
            <a:ext cx="10370759" cy="226523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24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F5A0A-4481-456F-8E99-8A834D14B2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DS is still evolving – Most of the integrations are still being done through web services or 3</a:t>
            </a:r>
            <a:r>
              <a:rPr lang="en-US" sz="20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d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arty tools</a:t>
            </a:r>
          </a:p>
          <a:p>
            <a:pPr marL="0" indent="0">
              <a:spcAft>
                <a:spcPts val="600"/>
              </a:spcAft>
              <a:buNone/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365 CE has limited Pricing capabilities which increases the dependency on 3</a:t>
            </a:r>
            <a:r>
              <a:rPr lang="en-US" sz="2000" baseline="30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d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arty add-ons or integration with an ERP</a:t>
            </a:r>
          </a:p>
          <a:p>
            <a:pPr marL="342900" indent="-342900">
              <a:spcAft>
                <a:spcPts val="600"/>
              </a:spcAft>
            </a:pP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r>
              <a:rPr lang="en-US" sz="2000" dirty="0"/>
              <a:t>Limited Taxation functionality – Rely on 3</a:t>
            </a:r>
            <a:r>
              <a:rPr lang="en-US" sz="2000" baseline="30000" dirty="0"/>
              <a:t>rd</a:t>
            </a:r>
            <a:r>
              <a:rPr lang="en-US" sz="2000" dirty="0"/>
              <a:t> party solutions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CFS + IOT – still a new thing</a:t>
            </a:r>
            <a:endParaRPr lang="en-GB" sz="2000" dirty="0"/>
          </a:p>
          <a:p>
            <a:pPr marL="342900" indent="-342900">
              <a:spcAft>
                <a:spcPts val="600"/>
              </a:spcAft>
            </a:pPr>
            <a:endParaRPr lang="en-GB" sz="20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201EB9-91CD-48AE-8AB8-D5D0794B4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Limit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7983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D9719E-E87A-4FC7-B090-9BA2B87C32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/>
              <a:t>D365 + AI features</a:t>
            </a:r>
          </a:p>
          <a:p>
            <a:pPr marL="0" indent="0">
              <a:buNone/>
            </a:pPr>
            <a:endParaRPr lang="en-US" sz="2400" dirty="0"/>
          </a:p>
          <a:p>
            <a:pPr lvl="1"/>
            <a:r>
              <a:rPr lang="en-US" sz="2000" dirty="0"/>
              <a:t>Dynamics 365 Customer Insights</a:t>
            </a:r>
          </a:p>
          <a:p>
            <a:pPr lvl="1"/>
            <a:r>
              <a:rPr lang="en-US" sz="2000" dirty="0"/>
              <a:t>Dynamics 365 Virtual Agent for Customer Service</a:t>
            </a:r>
          </a:p>
          <a:p>
            <a:pPr lvl="1"/>
            <a:r>
              <a:rPr lang="en-US" sz="2000" dirty="0"/>
              <a:t>Dynamics 365 Fraud Protection</a:t>
            </a:r>
          </a:p>
          <a:p>
            <a:pPr marL="336145" lvl="1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400" b="1" dirty="0"/>
              <a:t>D365 + Mixed reality</a:t>
            </a:r>
          </a:p>
          <a:p>
            <a:pPr marL="0" indent="0">
              <a:buNone/>
            </a:pPr>
            <a:endParaRPr lang="en-US" sz="2400" dirty="0"/>
          </a:p>
          <a:p>
            <a:pPr marL="522296" lvl="1" indent="-285750"/>
            <a:r>
              <a:rPr lang="en-US" sz="2000" dirty="0"/>
              <a:t>D365 Product Visualize (coming to iOS in preview)</a:t>
            </a:r>
          </a:p>
          <a:p>
            <a:pPr marL="522296" lvl="1" indent="-285750"/>
            <a:r>
              <a:rPr lang="en-US" sz="2000" dirty="0"/>
              <a:t>D365 Remote Assist for mobile devices (coming to Android in preview)</a:t>
            </a:r>
          </a:p>
          <a:p>
            <a:pPr marL="522296" lvl="1" indent="-285750"/>
            <a:endParaRPr lang="en-US" sz="2000" dirty="0"/>
          </a:p>
          <a:p>
            <a:pPr marL="0" indent="0">
              <a:buNone/>
            </a:pPr>
            <a:r>
              <a:rPr lang="en-US" sz="2400" dirty="0">
                <a:hlinkClick r:id="rId2"/>
              </a:rPr>
              <a:t>Learn More</a:t>
            </a:r>
            <a:endParaRPr lang="en-GB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404DDB-1116-4BE1-AAC8-D33ABC345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Upcom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39487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vector graphics, sushi&#10;&#10;Description generated with very high confidence">
            <a:extLst>
              <a:ext uri="{FF2B5EF4-FFF2-40B4-BE49-F238E27FC236}">
                <a16:creationId xmlns:a16="http://schemas.microsoft.com/office/drawing/2014/main" id="{D9B2EB1E-47EC-45F0-9C29-EB1BCD311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1693" y="490447"/>
            <a:ext cx="8757719" cy="496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006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AA15AB-3CA5-4E49-B693-B945204E028B}"/>
              </a:ext>
            </a:extLst>
          </p:cNvPr>
          <p:cNvSpPr/>
          <p:nvPr/>
        </p:nvSpPr>
        <p:spPr>
          <a:xfrm>
            <a:off x="3377698" y="2282267"/>
            <a:ext cx="543660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spc="-100" dirty="0">
                <a:ln w="3175">
                  <a:noFill/>
                </a:ln>
                <a:latin typeface="+mj-lt"/>
                <a:cs typeface="Segoe UI" pitchFamily="34" charset="0"/>
              </a:rPr>
              <a:t>Thank You</a:t>
            </a:r>
          </a:p>
          <a:p>
            <a:pPr algn="ctr"/>
            <a:r>
              <a:rPr lang="en-US" sz="1800" dirty="0"/>
              <a:t>For further details please contact </a:t>
            </a:r>
            <a:r>
              <a:rPr lang="en-US" sz="18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rishnam.nagapuri@columbusglobal.com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650799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body" sz="quarter" idx="14"/>
          </p:nvPr>
        </p:nvSpPr>
        <p:spPr>
          <a:xfrm>
            <a:off x="715893" y="3123871"/>
            <a:ext cx="9860673" cy="1494253"/>
          </a:xfrm>
        </p:spPr>
        <p:txBody>
          <a:bodyPr>
            <a:normAutofit/>
          </a:bodyPr>
          <a:lstStyle/>
          <a:p>
            <a:r>
              <a:rPr lang="en-IN"/>
              <a:t>March 11</a:t>
            </a:r>
            <a:r>
              <a:rPr lang="en-IN" baseline="30000"/>
              <a:t>th</a:t>
            </a:r>
            <a:r>
              <a:rPr lang="en-IN"/>
              <a:t>, 2019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267CB-2869-491B-81C2-880D29A553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4000"/>
              <a:t>Personalize Consumer Experience with Dynamics 365</a:t>
            </a:r>
          </a:p>
        </p:txBody>
      </p:sp>
    </p:spTree>
    <p:extLst>
      <p:ext uri="{BB962C8B-B14F-4D97-AF65-F5344CB8AC3E}">
        <p14:creationId xmlns:p14="http://schemas.microsoft.com/office/powerpoint/2010/main" val="130676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1A7D59FE-1F0C-4FDB-94CD-36A0754849A8}"/>
              </a:ext>
            </a:extLst>
          </p:cNvPr>
          <p:cNvSpPr/>
          <p:nvPr/>
        </p:nvSpPr>
        <p:spPr>
          <a:xfrm>
            <a:off x="2432256" y="1630999"/>
            <a:ext cx="7588747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>
                <a:solidFill>
                  <a:schemeClr val="tx2"/>
                </a:solidFill>
                <a:latin typeface="+mj-lt"/>
              </a:rPr>
              <a:t>By 2020,</a:t>
            </a:r>
          </a:p>
          <a:p>
            <a:r>
              <a:rPr lang="en-US" sz="3200">
                <a:solidFill>
                  <a:schemeClr val="tx2"/>
                </a:solidFill>
              </a:rPr>
              <a:t>customer experience will overtake price and product as the key brand differentiato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F77464-3F1F-4D15-B9BB-17D5D00D808F}"/>
              </a:ext>
            </a:extLst>
          </p:cNvPr>
          <p:cNvSpPr txBox="1"/>
          <p:nvPr/>
        </p:nvSpPr>
        <p:spPr>
          <a:xfrm>
            <a:off x="11018922" y="6581001"/>
            <a:ext cx="1173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/>
              <a:t>Source: Gartner</a:t>
            </a:r>
          </a:p>
        </p:txBody>
      </p:sp>
    </p:spTree>
    <p:extLst>
      <p:ext uri="{BB962C8B-B14F-4D97-AF65-F5344CB8AC3E}">
        <p14:creationId xmlns:p14="http://schemas.microsoft.com/office/powerpoint/2010/main" val="3109681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F831CE7-803A-4253-BA10-C2B1E12F122A}"/>
              </a:ext>
            </a:extLst>
          </p:cNvPr>
          <p:cNvSpPr/>
          <p:nvPr/>
        </p:nvSpPr>
        <p:spPr>
          <a:xfrm>
            <a:off x="3318809" y="680492"/>
            <a:ext cx="815272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0" b="1">
                <a:solidFill>
                  <a:schemeClr val="tx2"/>
                </a:solidFill>
              </a:rPr>
              <a:t>86% </a:t>
            </a:r>
            <a:r>
              <a:rPr lang="en-US" sz="2800">
                <a:solidFill>
                  <a:schemeClr val="tx2"/>
                </a:solidFill>
              </a:rPr>
              <a:t>of buyers will pay more for a better customer experience.</a:t>
            </a:r>
            <a:endParaRPr lang="en-US" sz="3200">
              <a:solidFill>
                <a:schemeClr val="tx2"/>
              </a:solidFill>
            </a:endParaRP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AB06B975-6E07-4AE5-BA96-38F7B72DF410}"/>
              </a:ext>
            </a:extLst>
          </p:cNvPr>
          <p:cNvSpPr txBox="1"/>
          <p:nvPr/>
        </p:nvSpPr>
        <p:spPr>
          <a:xfrm>
            <a:off x="11018922" y="6581001"/>
            <a:ext cx="1173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/>
              <a:t>Source: Gartn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8EEECA5-5886-4249-BC04-E35DBC1B9B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8659" y="562422"/>
            <a:ext cx="2139379" cy="156462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2706655-2F64-43F3-9CE8-62CA64CB61A3}"/>
              </a:ext>
            </a:extLst>
          </p:cNvPr>
          <p:cNvGrpSpPr/>
          <p:nvPr/>
        </p:nvGrpSpPr>
        <p:grpSpPr>
          <a:xfrm>
            <a:off x="2512744" y="3184360"/>
            <a:ext cx="9393310" cy="2234743"/>
            <a:chOff x="2512744" y="3184360"/>
            <a:chExt cx="9393310" cy="2234743"/>
          </a:xfrm>
        </p:grpSpPr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393C5277-B7ED-4E53-85C9-1BF7B2993303}"/>
                </a:ext>
              </a:extLst>
            </p:cNvPr>
            <p:cNvSpPr/>
            <p:nvPr/>
          </p:nvSpPr>
          <p:spPr>
            <a:xfrm>
              <a:off x="5026411" y="3235035"/>
              <a:ext cx="6879643" cy="18774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6000" b="1">
                  <a:solidFill>
                    <a:schemeClr val="tx2"/>
                  </a:solidFill>
                </a:rPr>
                <a:t>85% </a:t>
              </a:r>
              <a:r>
                <a:rPr lang="en-US" sz="2800">
                  <a:solidFill>
                    <a:schemeClr val="tx2"/>
                  </a:solidFill>
                </a:rPr>
                <a:t>of customers will manage its relationship with an enterprise without interacting with a human</a:t>
              </a:r>
              <a:endParaRPr lang="en-US" sz="3200">
                <a:solidFill>
                  <a:schemeClr val="tx2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DBCAC08-B5E2-4FD3-9FD0-0D11247C5B7B}"/>
                </a:ext>
              </a:extLst>
            </p:cNvPr>
            <p:cNvGrpSpPr/>
            <p:nvPr/>
          </p:nvGrpSpPr>
          <p:grpSpPr>
            <a:xfrm>
              <a:off x="2512744" y="3184360"/>
              <a:ext cx="2234743" cy="2234743"/>
              <a:chOff x="3413963" y="3184360"/>
              <a:chExt cx="2234743" cy="2234743"/>
            </a:xfrm>
          </p:grpSpPr>
          <p:pic>
            <p:nvPicPr>
              <p:cNvPr id="7" name="Graphic 6">
                <a:extLst>
                  <a:ext uri="{FF2B5EF4-FFF2-40B4-BE49-F238E27FC236}">
                    <a16:creationId xmlns:a16="http://schemas.microsoft.com/office/drawing/2014/main" id="{A9D89A43-9117-4B84-8315-6B795E1D5A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413963" y="3184360"/>
                <a:ext cx="2234743" cy="2234743"/>
              </a:xfrm>
              <a:prstGeom prst="rect">
                <a:avLst/>
              </a:prstGeom>
            </p:spPr>
          </p:pic>
          <p:sp>
            <p:nvSpPr>
              <p:cNvPr id="71" name="Freeform 12">
                <a:extLst>
                  <a:ext uri="{FF2B5EF4-FFF2-40B4-BE49-F238E27FC236}">
                    <a16:creationId xmlns:a16="http://schemas.microsoft.com/office/drawing/2014/main" id="{4A50AF78-C7DE-4249-93F6-11397D5D1B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0028" y="3852447"/>
                <a:ext cx="587642" cy="632161"/>
              </a:xfrm>
              <a:custGeom>
                <a:avLst/>
                <a:gdLst>
                  <a:gd name="T0" fmla="*/ 0 w 112"/>
                  <a:gd name="T1" fmla="*/ 120 h 120"/>
                  <a:gd name="T2" fmla="*/ 8 w 112"/>
                  <a:gd name="T3" fmla="*/ 120 h 120"/>
                  <a:gd name="T4" fmla="*/ 32 w 112"/>
                  <a:gd name="T5" fmla="*/ 96 h 120"/>
                  <a:gd name="T6" fmla="*/ 56 w 112"/>
                  <a:gd name="T7" fmla="*/ 120 h 120"/>
                  <a:gd name="T8" fmla="*/ 64 w 112"/>
                  <a:gd name="T9" fmla="*/ 120 h 120"/>
                  <a:gd name="T10" fmla="*/ 46 w 112"/>
                  <a:gd name="T11" fmla="*/ 91 h 120"/>
                  <a:gd name="T12" fmla="*/ 56 w 112"/>
                  <a:gd name="T13" fmla="*/ 72 h 120"/>
                  <a:gd name="T14" fmla="*/ 80 w 112"/>
                  <a:gd name="T15" fmla="*/ 48 h 120"/>
                  <a:gd name="T16" fmla="*/ 104 w 112"/>
                  <a:gd name="T17" fmla="*/ 72 h 120"/>
                  <a:gd name="T18" fmla="*/ 112 w 112"/>
                  <a:gd name="T19" fmla="*/ 72 h 120"/>
                  <a:gd name="T20" fmla="*/ 94 w 112"/>
                  <a:gd name="T21" fmla="*/ 43 h 120"/>
                  <a:gd name="T22" fmla="*/ 104 w 112"/>
                  <a:gd name="T23" fmla="*/ 24 h 120"/>
                  <a:gd name="T24" fmla="*/ 80 w 112"/>
                  <a:gd name="T25" fmla="*/ 0 h 120"/>
                  <a:gd name="T26" fmla="*/ 56 w 112"/>
                  <a:gd name="T27" fmla="*/ 24 h 120"/>
                  <a:gd name="T28" fmla="*/ 65 w 112"/>
                  <a:gd name="T29" fmla="*/ 43 h 120"/>
                  <a:gd name="T30" fmla="*/ 51 w 112"/>
                  <a:gd name="T31" fmla="*/ 58 h 120"/>
                  <a:gd name="T32" fmla="*/ 32 w 112"/>
                  <a:gd name="T33" fmla="*/ 48 h 120"/>
                  <a:gd name="T34" fmla="*/ 8 w 112"/>
                  <a:gd name="T35" fmla="*/ 72 h 120"/>
                  <a:gd name="T36" fmla="*/ 17 w 112"/>
                  <a:gd name="T37" fmla="*/ 91 h 120"/>
                  <a:gd name="T38" fmla="*/ 0 w 112"/>
                  <a:gd name="T39" fmla="*/ 120 h 120"/>
                  <a:gd name="T40" fmla="*/ 64 w 112"/>
                  <a:gd name="T41" fmla="*/ 24 h 120"/>
                  <a:gd name="T42" fmla="*/ 80 w 112"/>
                  <a:gd name="T43" fmla="*/ 8 h 120"/>
                  <a:gd name="T44" fmla="*/ 96 w 112"/>
                  <a:gd name="T45" fmla="*/ 24 h 120"/>
                  <a:gd name="T46" fmla="*/ 80 w 112"/>
                  <a:gd name="T47" fmla="*/ 40 h 120"/>
                  <a:gd name="T48" fmla="*/ 64 w 112"/>
                  <a:gd name="T49" fmla="*/ 24 h 120"/>
                  <a:gd name="T50" fmla="*/ 16 w 112"/>
                  <a:gd name="T51" fmla="*/ 72 h 120"/>
                  <a:gd name="T52" fmla="*/ 32 w 112"/>
                  <a:gd name="T53" fmla="*/ 56 h 120"/>
                  <a:gd name="T54" fmla="*/ 48 w 112"/>
                  <a:gd name="T55" fmla="*/ 72 h 120"/>
                  <a:gd name="T56" fmla="*/ 32 w 112"/>
                  <a:gd name="T57" fmla="*/ 88 h 120"/>
                  <a:gd name="T58" fmla="*/ 16 w 112"/>
                  <a:gd name="T59" fmla="*/ 7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2" h="120">
                    <a:moveTo>
                      <a:pt x="0" y="120"/>
                    </a:moveTo>
                    <a:cubicBezTo>
                      <a:pt x="8" y="120"/>
                      <a:pt x="8" y="120"/>
                      <a:pt x="8" y="120"/>
                    </a:cubicBezTo>
                    <a:cubicBezTo>
                      <a:pt x="8" y="107"/>
                      <a:pt x="18" y="96"/>
                      <a:pt x="32" y="96"/>
                    </a:cubicBezTo>
                    <a:cubicBezTo>
                      <a:pt x="45" y="96"/>
                      <a:pt x="56" y="107"/>
                      <a:pt x="56" y="120"/>
                    </a:cubicBezTo>
                    <a:cubicBezTo>
                      <a:pt x="64" y="120"/>
                      <a:pt x="64" y="120"/>
                      <a:pt x="64" y="120"/>
                    </a:cubicBezTo>
                    <a:cubicBezTo>
                      <a:pt x="64" y="107"/>
                      <a:pt x="56" y="97"/>
                      <a:pt x="46" y="91"/>
                    </a:cubicBezTo>
                    <a:cubicBezTo>
                      <a:pt x="52" y="87"/>
                      <a:pt x="56" y="80"/>
                      <a:pt x="56" y="72"/>
                    </a:cubicBezTo>
                    <a:cubicBezTo>
                      <a:pt x="56" y="59"/>
                      <a:pt x="66" y="48"/>
                      <a:pt x="80" y="48"/>
                    </a:cubicBezTo>
                    <a:cubicBezTo>
                      <a:pt x="93" y="48"/>
                      <a:pt x="104" y="59"/>
                      <a:pt x="104" y="72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59"/>
                      <a:pt x="104" y="49"/>
                      <a:pt x="94" y="43"/>
                    </a:cubicBezTo>
                    <a:cubicBezTo>
                      <a:pt x="100" y="39"/>
                      <a:pt x="104" y="32"/>
                      <a:pt x="104" y="24"/>
                    </a:cubicBezTo>
                    <a:cubicBezTo>
                      <a:pt x="104" y="11"/>
                      <a:pt x="93" y="0"/>
                      <a:pt x="80" y="0"/>
                    </a:cubicBezTo>
                    <a:cubicBezTo>
                      <a:pt x="66" y="0"/>
                      <a:pt x="56" y="11"/>
                      <a:pt x="56" y="24"/>
                    </a:cubicBezTo>
                    <a:cubicBezTo>
                      <a:pt x="56" y="32"/>
                      <a:pt x="60" y="39"/>
                      <a:pt x="65" y="43"/>
                    </a:cubicBezTo>
                    <a:cubicBezTo>
                      <a:pt x="59" y="46"/>
                      <a:pt x="54" y="52"/>
                      <a:pt x="51" y="58"/>
                    </a:cubicBezTo>
                    <a:cubicBezTo>
                      <a:pt x="47" y="52"/>
                      <a:pt x="40" y="48"/>
                      <a:pt x="32" y="48"/>
                    </a:cubicBezTo>
                    <a:cubicBezTo>
                      <a:pt x="18" y="48"/>
                      <a:pt x="8" y="59"/>
                      <a:pt x="8" y="72"/>
                    </a:cubicBezTo>
                    <a:cubicBezTo>
                      <a:pt x="8" y="80"/>
                      <a:pt x="12" y="87"/>
                      <a:pt x="17" y="91"/>
                    </a:cubicBezTo>
                    <a:cubicBezTo>
                      <a:pt x="7" y="97"/>
                      <a:pt x="0" y="107"/>
                      <a:pt x="0" y="120"/>
                    </a:cubicBezTo>
                    <a:close/>
                    <a:moveTo>
                      <a:pt x="64" y="24"/>
                    </a:moveTo>
                    <a:cubicBezTo>
                      <a:pt x="64" y="15"/>
                      <a:pt x="71" y="8"/>
                      <a:pt x="80" y="8"/>
                    </a:cubicBezTo>
                    <a:cubicBezTo>
                      <a:pt x="88" y="8"/>
                      <a:pt x="96" y="15"/>
                      <a:pt x="96" y="24"/>
                    </a:cubicBezTo>
                    <a:cubicBezTo>
                      <a:pt x="96" y="33"/>
                      <a:pt x="88" y="40"/>
                      <a:pt x="80" y="40"/>
                    </a:cubicBezTo>
                    <a:cubicBezTo>
                      <a:pt x="71" y="40"/>
                      <a:pt x="64" y="33"/>
                      <a:pt x="64" y="24"/>
                    </a:cubicBezTo>
                    <a:close/>
                    <a:moveTo>
                      <a:pt x="16" y="72"/>
                    </a:moveTo>
                    <a:cubicBezTo>
                      <a:pt x="16" y="63"/>
                      <a:pt x="23" y="56"/>
                      <a:pt x="32" y="56"/>
                    </a:cubicBezTo>
                    <a:cubicBezTo>
                      <a:pt x="40" y="56"/>
                      <a:pt x="48" y="63"/>
                      <a:pt x="48" y="72"/>
                    </a:cubicBezTo>
                    <a:cubicBezTo>
                      <a:pt x="48" y="81"/>
                      <a:pt x="40" y="88"/>
                      <a:pt x="32" y="88"/>
                    </a:cubicBezTo>
                    <a:cubicBezTo>
                      <a:pt x="23" y="88"/>
                      <a:pt x="16" y="81"/>
                      <a:pt x="16" y="7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ED44988-BAAC-4895-BE9E-DB5247D20998}"/>
                  </a:ext>
                </a:extLst>
              </p:cNvPr>
              <p:cNvSpPr txBox="1"/>
              <p:nvPr/>
            </p:nvSpPr>
            <p:spPr>
              <a:xfrm>
                <a:off x="4036427" y="4484608"/>
                <a:ext cx="989814" cy="6278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4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85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8903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2BFE8BF-FC49-47A5-85E2-620FB9A9E92A}"/>
              </a:ext>
            </a:extLst>
          </p:cNvPr>
          <p:cNvSpPr/>
          <p:nvPr/>
        </p:nvSpPr>
        <p:spPr bwMode="auto">
          <a:xfrm>
            <a:off x="1072680" y="5059639"/>
            <a:ext cx="2265022" cy="461665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Brick &amp; Mortar</a:t>
            </a:r>
            <a:endParaRPr lang="en-US" sz="200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A51CD8-703B-4EEB-93A4-22B5CF042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solidFill>
                  <a:schemeClr val="bg2"/>
                </a:solidFill>
              </a:rPr>
              <a:t>Brand – Customer Communication Maturity </a:t>
            </a: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EE236ED8-9E91-4FCD-8F6A-8884948C07B1}"/>
              </a:ext>
            </a:extLst>
          </p:cNvPr>
          <p:cNvSpPr/>
          <p:nvPr/>
        </p:nvSpPr>
        <p:spPr>
          <a:xfrm>
            <a:off x="3449149" y="1310569"/>
            <a:ext cx="2786158" cy="639772"/>
          </a:xfrm>
          <a:custGeom>
            <a:avLst/>
            <a:gdLst>
              <a:gd name="connsiteX0" fmla="*/ 0 w 2786158"/>
              <a:gd name="connsiteY0" fmla="*/ 0 h 639772"/>
              <a:gd name="connsiteX1" fmla="*/ 2466272 w 2786158"/>
              <a:gd name="connsiteY1" fmla="*/ 0 h 639772"/>
              <a:gd name="connsiteX2" fmla="*/ 2786158 w 2786158"/>
              <a:gd name="connsiteY2" fmla="*/ 319886 h 639772"/>
              <a:gd name="connsiteX3" fmla="*/ 2466272 w 2786158"/>
              <a:gd name="connsiteY3" fmla="*/ 639772 h 639772"/>
              <a:gd name="connsiteX4" fmla="*/ 0 w 2786158"/>
              <a:gd name="connsiteY4" fmla="*/ 639772 h 639772"/>
              <a:gd name="connsiteX5" fmla="*/ 319886 w 2786158"/>
              <a:gd name="connsiteY5" fmla="*/ 319886 h 639772"/>
              <a:gd name="connsiteX6" fmla="*/ 0 w 2786158"/>
              <a:gd name="connsiteY6" fmla="*/ 0 h 639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6158" h="639772">
                <a:moveTo>
                  <a:pt x="0" y="0"/>
                </a:moveTo>
                <a:lnTo>
                  <a:pt x="2466272" y="0"/>
                </a:lnTo>
                <a:lnTo>
                  <a:pt x="2786158" y="319886"/>
                </a:lnTo>
                <a:lnTo>
                  <a:pt x="2466272" y="639772"/>
                </a:lnTo>
                <a:lnTo>
                  <a:pt x="0" y="639772"/>
                </a:lnTo>
                <a:lnTo>
                  <a:pt x="319886" y="319886"/>
                </a:lnTo>
                <a:lnTo>
                  <a:pt x="0" y="0"/>
                </a:lnTo>
                <a:close/>
              </a:path>
            </a:pathLst>
          </a:custGeom>
          <a:solidFill>
            <a:srgbClr val="00D9C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895" tIns="24003" rIns="343889" bIns="2400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kern="1200"/>
              <a:t>Multi Channel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068B57E-F86F-4B3A-854A-5697388AB426}"/>
              </a:ext>
            </a:extLst>
          </p:cNvPr>
          <p:cNvGrpSpPr/>
          <p:nvPr/>
        </p:nvGrpSpPr>
        <p:grpSpPr>
          <a:xfrm>
            <a:off x="4047513" y="2776009"/>
            <a:ext cx="1200350" cy="1025880"/>
            <a:chOff x="4047513" y="2776009"/>
            <a:chExt cx="1200350" cy="1025880"/>
          </a:xfrm>
        </p:grpSpPr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C87C4DB1-9594-4E29-942A-951E94DBBC39}"/>
                </a:ext>
              </a:extLst>
            </p:cNvPr>
            <p:cNvCxnSpPr>
              <a:cxnSpLocks/>
            </p:cNvCxnSpPr>
            <p:nvPr/>
          </p:nvCxnSpPr>
          <p:spPr>
            <a:xfrm>
              <a:off x="4047513" y="2776009"/>
              <a:ext cx="0" cy="1025880"/>
            </a:xfrm>
            <a:prstGeom prst="straightConnector1">
              <a:avLst/>
            </a:prstGeom>
            <a:ln w="38100">
              <a:solidFill>
                <a:srgbClr val="00D9C3"/>
              </a:solidFill>
              <a:headEnd type="stealth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6F7CE160-2F61-4F25-A9A8-058A16418A28}"/>
                </a:ext>
              </a:extLst>
            </p:cNvPr>
            <p:cNvCxnSpPr>
              <a:cxnSpLocks/>
            </p:cNvCxnSpPr>
            <p:nvPr/>
          </p:nvCxnSpPr>
          <p:spPr>
            <a:xfrm>
              <a:off x="4652402" y="2776009"/>
              <a:ext cx="0" cy="1025880"/>
            </a:xfrm>
            <a:prstGeom prst="straightConnector1">
              <a:avLst/>
            </a:prstGeom>
            <a:ln w="38100">
              <a:solidFill>
                <a:srgbClr val="00D9C3"/>
              </a:solidFill>
              <a:headEnd type="stealth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99754FEB-1D09-4A92-B50B-E25880884003}"/>
                </a:ext>
              </a:extLst>
            </p:cNvPr>
            <p:cNvCxnSpPr>
              <a:cxnSpLocks/>
            </p:cNvCxnSpPr>
            <p:nvPr/>
          </p:nvCxnSpPr>
          <p:spPr>
            <a:xfrm>
              <a:off x="5247863" y="2776009"/>
              <a:ext cx="0" cy="1025880"/>
            </a:xfrm>
            <a:prstGeom prst="straightConnector1">
              <a:avLst/>
            </a:prstGeom>
            <a:ln w="38100">
              <a:solidFill>
                <a:srgbClr val="00D9C3"/>
              </a:solidFill>
              <a:headEnd type="stealth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7660F1D-37DB-436D-A7E1-6E6BFF72A18A}"/>
              </a:ext>
            </a:extLst>
          </p:cNvPr>
          <p:cNvGrpSpPr/>
          <p:nvPr/>
        </p:nvGrpSpPr>
        <p:grpSpPr>
          <a:xfrm>
            <a:off x="4268164" y="1975114"/>
            <a:ext cx="780235" cy="780235"/>
            <a:chOff x="3957693" y="1975114"/>
            <a:chExt cx="780235" cy="780235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CA3B9421-4388-426B-BA52-D5614DD3234B}"/>
                </a:ext>
              </a:extLst>
            </p:cNvPr>
            <p:cNvSpPr/>
            <p:nvPr/>
          </p:nvSpPr>
          <p:spPr bwMode="auto">
            <a:xfrm>
              <a:off x="3957693" y="1975114"/>
              <a:ext cx="780235" cy="780235"/>
            </a:xfrm>
            <a:prstGeom prst="ellipse">
              <a:avLst/>
            </a:prstGeom>
            <a:solidFill>
              <a:srgbClr val="00D9C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0" name="Picture 49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B1550417-D9B9-4D30-A67B-A32BE6770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42968" y="2060389"/>
              <a:ext cx="609685" cy="609685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DF76246-3DC1-42C4-BF54-10525F45A7ED}"/>
              </a:ext>
            </a:extLst>
          </p:cNvPr>
          <p:cNvGrpSpPr/>
          <p:nvPr/>
        </p:nvGrpSpPr>
        <p:grpSpPr>
          <a:xfrm>
            <a:off x="3768861" y="3886776"/>
            <a:ext cx="1777153" cy="583590"/>
            <a:chOff x="3768861" y="3886776"/>
            <a:chExt cx="1777153" cy="583590"/>
          </a:xfrm>
        </p:grpSpPr>
        <p:pic>
          <p:nvPicPr>
            <p:cNvPr id="54" name="Picture 53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1382799C-B842-493F-928D-6624DA4BB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72076" y="3886776"/>
              <a:ext cx="473938" cy="473938"/>
            </a:xfrm>
            <a:prstGeom prst="rect">
              <a:avLst/>
            </a:prstGeom>
          </p:spPr>
        </p:pic>
        <p:pic>
          <p:nvPicPr>
            <p:cNvPr id="55" name="Picture 5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ADCA2FC-1BCF-4FA2-90B1-27EBB0F4D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64210" y="3886776"/>
              <a:ext cx="583590" cy="583590"/>
            </a:xfrm>
            <a:prstGeom prst="rect">
              <a:avLst/>
            </a:prstGeom>
          </p:spPr>
        </p:pic>
        <p:pic>
          <p:nvPicPr>
            <p:cNvPr id="60" name="Picture 59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DBE95769-59B0-4B56-8ADB-4E05AB3BB0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68861" y="3886776"/>
              <a:ext cx="557304" cy="557304"/>
            </a:xfrm>
            <a:prstGeom prst="rect">
              <a:avLst/>
            </a:prstGeom>
          </p:spPr>
        </p:pic>
      </p:grp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F1C73E0-D751-4549-8BB0-0123E98B2CB6}"/>
              </a:ext>
            </a:extLst>
          </p:cNvPr>
          <p:cNvCxnSpPr/>
          <p:nvPr/>
        </p:nvCxnSpPr>
        <p:spPr>
          <a:xfrm>
            <a:off x="3395038" y="5290471"/>
            <a:ext cx="1653361" cy="0"/>
          </a:xfrm>
          <a:prstGeom prst="straightConnector1">
            <a:avLst/>
          </a:prstGeom>
          <a:ln w="76200">
            <a:solidFill>
              <a:schemeClr val="bg1"/>
            </a:solidFill>
            <a:headEnd type="none"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4409687-E851-4D98-B739-1D50024042B0}"/>
              </a:ext>
            </a:extLst>
          </p:cNvPr>
          <p:cNvCxnSpPr/>
          <p:nvPr/>
        </p:nvCxnSpPr>
        <p:spPr>
          <a:xfrm flipV="1">
            <a:off x="7383044" y="5290471"/>
            <a:ext cx="1653361" cy="1"/>
          </a:xfrm>
          <a:prstGeom prst="straightConnector1">
            <a:avLst/>
          </a:prstGeom>
          <a:ln w="76200">
            <a:solidFill>
              <a:schemeClr val="bg1"/>
            </a:solidFill>
            <a:headEnd type="none"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7BEBE7C-8ACE-4FEC-99C6-C56C10418076}"/>
              </a:ext>
            </a:extLst>
          </p:cNvPr>
          <p:cNvSpPr/>
          <p:nvPr/>
        </p:nvSpPr>
        <p:spPr bwMode="auto">
          <a:xfrm>
            <a:off x="5070385" y="5059639"/>
            <a:ext cx="2265022" cy="461665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Multi-Channel</a:t>
            </a:r>
            <a:endParaRPr lang="en-US" sz="200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A5EFE5F9-A0A4-466C-AB05-0433E5E12635}"/>
              </a:ext>
            </a:extLst>
          </p:cNvPr>
          <p:cNvSpPr/>
          <p:nvPr/>
        </p:nvSpPr>
        <p:spPr bwMode="auto">
          <a:xfrm>
            <a:off x="9084042" y="5059639"/>
            <a:ext cx="2265022" cy="461665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Omni-Channel</a:t>
            </a:r>
            <a:endParaRPr lang="en-US" sz="200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504165BA-3546-483F-99CC-B31E2FA207DB}"/>
              </a:ext>
            </a:extLst>
          </p:cNvPr>
          <p:cNvSpPr/>
          <p:nvPr/>
        </p:nvSpPr>
        <p:spPr>
          <a:xfrm>
            <a:off x="941607" y="1310569"/>
            <a:ext cx="2786158" cy="639772"/>
          </a:xfrm>
          <a:custGeom>
            <a:avLst/>
            <a:gdLst>
              <a:gd name="connsiteX0" fmla="*/ 0 w 2786158"/>
              <a:gd name="connsiteY0" fmla="*/ 0 h 639772"/>
              <a:gd name="connsiteX1" fmla="*/ 2466272 w 2786158"/>
              <a:gd name="connsiteY1" fmla="*/ 0 h 639772"/>
              <a:gd name="connsiteX2" fmla="*/ 2786158 w 2786158"/>
              <a:gd name="connsiteY2" fmla="*/ 319886 h 639772"/>
              <a:gd name="connsiteX3" fmla="*/ 2466272 w 2786158"/>
              <a:gd name="connsiteY3" fmla="*/ 639772 h 639772"/>
              <a:gd name="connsiteX4" fmla="*/ 0 w 2786158"/>
              <a:gd name="connsiteY4" fmla="*/ 639772 h 639772"/>
              <a:gd name="connsiteX5" fmla="*/ 319886 w 2786158"/>
              <a:gd name="connsiteY5" fmla="*/ 319886 h 639772"/>
              <a:gd name="connsiteX6" fmla="*/ 0 w 2786158"/>
              <a:gd name="connsiteY6" fmla="*/ 0 h 639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6158" h="639772">
                <a:moveTo>
                  <a:pt x="0" y="0"/>
                </a:moveTo>
                <a:lnTo>
                  <a:pt x="2466272" y="0"/>
                </a:lnTo>
                <a:lnTo>
                  <a:pt x="2786158" y="319886"/>
                </a:lnTo>
                <a:lnTo>
                  <a:pt x="2466272" y="639772"/>
                </a:lnTo>
                <a:lnTo>
                  <a:pt x="0" y="639772"/>
                </a:lnTo>
                <a:lnTo>
                  <a:pt x="319886" y="319886"/>
                </a:lnTo>
                <a:lnTo>
                  <a:pt x="0" y="0"/>
                </a:lnTo>
                <a:close/>
              </a:path>
            </a:pathLst>
          </a:custGeom>
          <a:solidFill>
            <a:srgbClr val="FBAF1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895" tIns="24003" rIns="343889" bIns="2400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kern="1200"/>
              <a:t>Single Channel</a:t>
            </a:r>
          </a:p>
        </p:txBody>
      </p:sp>
      <p:pic>
        <p:nvPicPr>
          <p:cNvPr id="20" name="Picture 1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B596AFA-2D72-45A5-AE3C-E6384E595E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3125" y="3886776"/>
            <a:ext cx="557304" cy="557304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7475946-9755-4A6C-9B4B-BABDA3591D9F}"/>
              </a:ext>
            </a:extLst>
          </p:cNvPr>
          <p:cNvCxnSpPr>
            <a:cxnSpLocks/>
          </p:cNvCxnSpPr>
          <p:nvPr/>
        </p:nvCxnSpPr>
        <p:spPr>
          <a:xfrm>
            <a:off x="2311410" y="2776009"/>
            <a:ext cx="0" cy="1025880"/>
          </a:xfrm>
          <a:prstGeom prst="straightConnector1">
            <a:avLst/>
          </a:prstGeom>
          <a:ln w="38100">
            <a:solidFill>
              <a:srgbClr val="FBAF19"/>
            </a:solidFill>
            <a:headEnd type="stealth" w="lg" len="med"/>
            <a:tail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861C4B3-360C-4762-AE68-33CEDFCD127D}"/>
              </a:ext>
            </a:extLst>
          </p:cNvPr>
          <p:cNvGrpSpPr/>
          <p:nvPr/>
        </p:nvGrpSpPr>
        <p:grpSpPr>
          <a:xfrm>
            <a:off x="1921292" y="1957820"/>
            <a:ext cx="780235" cy="780235"/>
            <a:chOff x="3957693" y="1975114"/>
            <a:chExt cx="780235" cy="780235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7902528-A82D-4CE4-88E0-1C772215C724}"/>
                </a:ext>
              </a:extLst>
            </p:cNvPr>
            <p:cNvSpPr/>
            <p:nvPr/>
          </p:nvSpPr>
          <p:spPr bwMode="auto">
            <a:xfrm>
              <a:off x="3957693" y="1975114"/>
              <a:ext cx="780235" cy="780235"/>
            </a:xfrm>
            <a:prstGeom prst="ellipse">
              <a:avLst/>
            </a:prstGeom>
            <a:solidFill>
              <a:srgbClr val="FBAF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6" name="Picture 75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00DC65B3-EB4E-4B0C-90EE-2D0C9201F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42968" y="2060389"/>
              <a:ext cx="609685" cy="609685"/>
            </a:xfrm>
            <a:prstGeom prst="rect">
              <a:avLst/>
            </a:prstGeom>
          </p:spPr>
        </p:pic>
      </p:grp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63BD7887-CE5F-4309-BC0A-1A1884EC72BA}"/>
              </a:ext>
            </a:extLst>
          </p:cNvPr>
          <p:cNvSpPr/>
          <p:nvPr/>
        </p:nvSpPr>
        <p:spPr>
          <a:xfrm>
            <a:off x="5956692" y="1310569"/>
            <a:ext cx="2786158" cy="639772"/>
          </a:xfrm>
          <a:custGeom>
            <a:avLst/>
            <a:gdLst>
              <a:gd name="connsiteX0" fmla="*/ 0 w 2786158"/>
              <a:gd name="connsiteY0" fmla="*/ 0 h 639772"/>
              <a:gd name="connsiteX1" fmla="*/ 2466272 w 2786158"/>
              <a:gd name="connsiteY1" fmla="*/ 0 h 639772"/>
              <a:gd name="connsiteX2" fmla="*/ 2786158 w 2786158"/>
              <a:gd name="connsiteY2" fmla="*/ 319886 h 639772"/>
              <a:gd name="connsiteX3" fmla="*/ 2466272 w 2786158"/>
              <a:gd name="connsiteY3" fmla="*/ 639772 h 639772"/>
              <a:gd name="connsiteX4" fmla="*/ 0 w 2786158"/>
              <a:gd name="connsiteY4" fmla="*/ 639772 h 639772"/>
              <a:gd name="connsiteX5" fmla="*/ 319886 w 2786158"/>
              <a:gd name="connsiteY5" fmla="*/ 319886 h 639772"/>
              <a:gd name="connsiteX6" fmla="*/ 0 w 2786158"/>
              <a:gd name="connsiteY6" fmla="*/ 0 h 639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6158" h="639772">
                <a:moveTo>
                  <a:pt x="0" y="0"/>
                </a:moveTo>
                <a:lnTo>
                  <a:pt x="2466272" y="0"/>
                </a:lnTo>
                <a:lnTo>
                  <a:pt x="2786158" y="319886"/>
                </a:lnTo>
                <a:lnTo>
                  <a:pt x="2466272" y="639772"/>
                </a:lnTo>
                <a:lnTo>
                  <a:pt x="0" y="639772"/>
                </a:lnTo>
                <a:lnTo>
                  <a:pt x="319886" y="319886"/>
                </a:lnTo>
                <a:lnTo>
                  <a:pt x="0" y="0"/>
                </a:lnTo>
                <a:close/>
              </a:path>
            </a:pathLst>
          </a:custGeom>
          <a:solidFill>
            <a:srgbClr val="D399B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895" tIns="24003" rIns="343889" bIns="2400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kern="1200"/>
              <a:t>Cross Channel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05BB555-8E88-42E4-9AE2-560BA768E3DF}"/>
              </a:ext>
            </a:extLst>
          </p:cNvPr>
          <p:cNvGrpSpPr/>
          <p:nvPr/>
        </p:nvGrpSpPr>
        <p:grpSpPr>
          <a:xfrm>
            <a:off x="6861707" y="2776009"/>
            <a:ext cx="953679" cy="1025880"/>
            <a:chOff x="6861707" y="2776009"/>
            <a:chExt cx="953679" cy="1025880"/>
          </a:xfrm>
        </p:grpSpPr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ABB3ED56-7892-465A-8AC3-7A6C97298B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61707" y="2776009"/>
              <a:ext cx="476840" cy="989303"/>
            </a:xfrm>
            <a:prstGeom prst="straightConnector1">
              <a:avLst/>
            </a:prstGeom>
            <a:ln w="38100">
              <a:solidFill>
                <a:srgbClr val="D399B8"/>
              </a:solidFill>
              <a:headEnd type="none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B4672F1-EFFD-4D1B-AFDB-3B4AEFD2465C}"/>
                </a:ext>
              </a:extLst>
            </p:cNvPr>
            <p:cNvCxnSpPr>
              <a:cxnSpLocks/>
            </p:cNvCxnSpPr>
            <p:nvPr/>
          </p:nvCxnSpPr>
          <p:spPr>
            <a:xfrm>
              <a:off x="7338547" y="2776009"/>
              <a:ext cx="0" cy="1025880"/>
            </a:xfrm>
            <a:prstGeom prst="straightConnector1">
              <a:avLst/>
            </a:prstGeom>
            <a:ln w="38100">
              <a:solidFill>
                <a:srgbClr val="D399B8"/>
              </a:solidFill>
              <a:headEnd type="stealth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51C349AD-45A9-434B-A7EA-79A63DFB586A}"/>
                </a:ext>
              </a:extLst>
            </p:cNvPr>
            <p:cNvCxnSpPr>
              <a:cxnSpLocks/>
            </p:cNvCxnSpPr>
            <p:nvPr/>
          </p:nvCxnSpPr>
          <p:spPr>
            <a:xfrm>
              <a:off x="7338547" y="2776009"/>
              <a:ext cx="476839" cy="989303"/>
            </a:xfrm>
            <a:prstGeom prst="straightConnector1">
              <a:avLst/>
            </a:prstGeom>
            <a:ln w="38100">
              <a:solidFill>
                <a:srgbClr val="D399B8"/>
              </a:solidFill>
              <a:headEnd type="none" w="lg" len="med"/>
              <a:tailEnd type="stealth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7BC3644-1651-43E2-8BD1-630E33513CF9}"/>
              </a:ext>
            </a:extLst>
          </p:cNvPr>
          <p:cNvGrpSpPr/>
          <p:nvPr/>
        </p:nvGrpSpPr>
        <p:grpSpPr>
          <a:xfrm>
            <a:off x="6442929" y="3886776"/>
            <a:ext cx="1777153" cy="583590"/>
            <a:chOff x="6442929" y="3886776"/>
            <a:chExt cx="1777153" cy="583590"/>
          </a:xfrm>
        </p:grpSpPr>
        <p:pic>
          <p:nvPicPr>
            <p:cNvPr id="67" name="Picture 6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43FFADA-D378-4BFA-82F0-C9DD996770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46144" y="3886776"/>
              <a:ext cx="473938" cy="473938"/>
            </a:xfrm>
            <a:prstGeom prst="rect">
              <a:avLst/>
            </a:prstGeom>
          </p:spPr>
        </p:pic>
        <p:pic>
          <p:nvPicPr>
            <p:cNvPr id="68" name="Picture 67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D2E7E1BE-D6BD-4D1A-96FB-488CA45A4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38278" y="3886776"/>
              <a:ext cx="583590" cy="583590"/>
            </a:xfrm>
            <a:prstGeom prst="rect">
              <a:avLst/>
            </a:prstGeom>
          </p:spPr>
        </p:pic>
        <p:pic>
          <p:nvPicPr>
            <p:cNvPr id="69" name="Picture 6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F8F19A61-F634-4F3F-B848-A744FEC9D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42929" y="3886776"/>
              <a:ext cx="557304" cy="557304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459DBDE-826E-4B2D-B70C-F1E29BB5430A}"/>
              </a:ext>
            </a:extLst>
          </p:cNvPr>
          <p:cNvGrpSpPr/>
          <p:nvPr/>
        </p:nvGrpSpPr>
        <p:grpSpPr>
          <a:xfrm>
            <a:off x="6948429" y="1959025"/>
            <a:ext cx="780235" cy="780235"/>
            <a:chOff x="3957693" y="1975114"/>
            <a:chExt cx="780235" cy="780235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F5F944B2-D790-4A57-BE59-3D8942790F49}"/>
                </a:ext>
              </a:extLst>
            </p:cNvPr>
            <p:cNvSpPr/>
            <p:nvPr/>
          </p:nvSpPr>
          <p:spPr bwMode="auto">
            <a:xfrm>
              <a:off x="3957693" y="1975114"/>
              <a:ext cx="780235" cy="780235"/>
            </a:xfrm>
            <a:prstGeom prst="ellipse">
              <a:avLst/>
            </a:prstGeom>
            <a:solidFill>
              <a:srgbClr val="D399B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9" name="Picture 7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A56755E-80E1-4769-BE5A-4BBCF8ACC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42968" y="2060389"/>
              <a:ext cx="609685" cy="609685"/>
            </a:xfrm>
            <a:prstGeom prst="rect">
              <a:avLst/>
            </a:prstGeom>
          </p:spPr>
        </p:pic>
      </p:grp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EA780815-FE5A-44E7-BCE7-BBEE8B460ABE}"/>
              </a:ext>
            </a:extLst>
          </p:cNvPr>
          <p:cNvSpPr/>
          <p:nvPr/>
        </p:nvSpPr>
        <p:spPr>
          <a:xfrm>
            <a:off x="8464234" y="1310569"/>
            <a:ext cx="2786158" cy="639772"/>
          </a:xfrm>
          <a:custGeom>
            <a:avLst/>
            <a:gdLst>
              <a:gd name="connsiteX0" fmla="*/ 0 w 2786158"/>
              <a:gd name="connsiteY0" fmla="*/ 0 h 639772"/>
              <a:gd name="connsiteX1" fmla="*/ 2466272 w 2786158"/>
              <a:gd name="connsiteY1" fmla="*/ 0 h 639772"/>
              <a:gd name="connsiteX2" fmla="*/ 2786158 w 2786158"/>
              <a:gd name="connsiteY2" fmla="*/ 319886 h 639772"/>
              <a:gd name="connsiteX3" fmla="*/ 2466272 w 2786158"/>
              <a:gd name="connsiteY3" fmla="*/ 639772 h 639772"/>
              <a:gd name="connsiteX4" fmla="*/ 0 w 2786158"/>
              <a:gd name="connsiteY4" fmla="*/ 639772 h 639772"/>
              <a:gd name="connsiteX5" fmla="*/ 319886 w 2786158"/>
              <a:gd name="connsiteY5" fmla="*/ 319886 h 639772"/>
              <a:gd name="connsiteX6" fmla="*/ 0 w 2786158"/>
              <a:gd name="connsiteY6" fmla="*/ 0 h 639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6158" h="639772">
                <a:moveTo>
                  <a:pt x="0" y="0"/>
                </a:moveTo>
                <a:lnTo>
                  <a:pt x="2466272" y="0"/>
                </a:lnTo>
                <a:lnTo>
                  <a:pt x="2786158" y="319886"/>
                </a:lnTo>
                <a:lnTo>
                  <a:pt x="2466272" y="639772"/>
                </a:lnTo>
                <a:lnTo>
                  <a:pt x="0" y="639772"/>
                </a:lnTo>
                <a:lnTo>
                  <a:pt x="319886" y="319886"/>
                </a:lnTo>
                <a:lnTo>
                  <a:pt x="0" y="0"/>
                </a:lnTo>
                <a:close/>
              </a:path>
            </a:pathLst>
          </a:custGeom>
          <a:solidFill>
            <a:srgbClr val="4E456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1895" tIns="24003" rIns="343889" bIns="2400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kern="1200"/>
              <a:t>Omni Channel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294BE08-68A6-4245-9F94-BCCDB702BC63}"/>
              </a:ext>
            </a:extLst>
          </p:cNvPr>
          <p:cNvGrpSpPr/>
          <p:nvPr/>
        </p:nvGrpSpPr>
        <p:grpSpPr>
          <a:xfrm>
            <a:off x="8028548" y="2152448"/>
            <a:ext cx="3781761" cy="2521174"/>
            <a:chOff x="8028548" y="2152448"/>
            <a:chExt cx="3781761" cy="2521174"/>
          </a:xfrm>
        </p:grpSpPr>
        <p:graphicFrame>
          <p:nvGraphicFramePr>
            <p:cNvPr id="89" name="Diagram 88">
              <a:extLst>
                <a:ext uri="{FF2B5EF4-FFF2-40B4-BE49-F238E27FC236}">
                  <a16:creationId xmlns:a16="http://schemas.microsoft.com/office/drawing/2014/main" id="{6D9E5337-96EB-47F7-AC27-67F4640B96B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05409586"/>
                </p:ext>
              </p:extLst>
            </p:nvPr>
          </p:nvGraphicFramePr>
          <p:xfrm>
            <a:off x="8028548" y="2152448"/>
            <a:ext cx="3781761" cy="252117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858DD20A-F2C2-45CB-A231-F586261F62DB}"/>
                </a:ext>
              </a:extLst>
            </p:cNvPr>
            <p:cNvGrpSpPr/>
            <p:nvPr/>
          </p:nvGrpSpPr>
          <p:grpSpPr>
            <a:xfrm>
              <a:off x="8796682" y="2276548"/>
              <a:ext cx="2187392" cy="2312868"/>
              <a:chOff x="8796682" y="2276548"/>
              <a:chExt cx="2187392" cy="2312868"/>
            </a:xfrm>
          </p:grpSpPr>
          <p:pic>
            <p:nvPicPr>
              <p:cNvPr id="16" name="Picture 15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B60AFA00-47B5-4AE5-B9EF-E5FE1CA6FD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552590" y="3708775"/>
                <a:ext cx="393222" cy="393222"/>
              </a:xfrm>
              <a:prstGeom prst="rect">
                <a:avLst/>
              </a:prstGeom>
            </p:spPr>
          </p:pic>
          <p:pic>
            <p:nvPicPr>
              <p:cNvPr id="18" name="Picture 17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7FAF09CC-AB93-48D5-AD91-9D568F9775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796682" y="2676992"/>
                <a:ext cx="609685" cy="609685"/>
              </a:xfrm>
              <a:prstGeom prst="rect">
                <a:avLst/>
              </a:prstGeom>
            </p:spPr>
          </p:pic>
          <p:pic>
            <p:nvPicPr>
              <p:cNvPr id="85" name="Picture 84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86FCEF1D-8A61-4A0E-99CF-1CEEC5D857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662138" y="3172818"/>
                <a:ext cx="512363" cy="512363"/>
              </a:xfrm>
              <a:prstGeom prst="rect">
                <a:avLst/>
              </a:prstGeom>
            </p:spPr>
          </p:pic>
          <p:pic>
            <p:nvPicPr>
              <p:cNvPr id="86" name="Picture 85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A89EF0F1-0540-4DAB-9F47-4CBFCA440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707203" y="2276548"/>
                <a:ext cx="413159" cy="413159"/>
              </a:xfrm>
              <a:prstGeom prst="rect">
                <a:avLst/>
              </a:prstGeom>
            </p:spPr>
          </p:pic>
          <p:pic>
            <p:nvPicPr>
              <p:cNvPr id="87" name="Picture 86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9E749ED1-8735-408F-BCE3-25F6D459D9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546997" y="2738887"/>
                <a:ext cx="437077" cy="437077"/>
              </a:xfrm>
              <a:prstGeom prst="rect">
                <a:avLst/>
              </a:prstGeom>
            </p:spPr>
          </p:pic>
          <p:pic>
            <p:nvPicPr>
              <p:cNvPr id="88" name="Picture 87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46BC2249-F307-4DF4-9989-A8C11F374F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683361" y="4135551"/>
                <a:ext cx="453865" cy="453865"/>
              </a:xfrm>
              <a:prstGeom prst="rect">
                <a:avLst/>
              </a:prstGeom>
            </p:spPr>
          </p:pic>
          <p:pic>
            <p:nvPicPr>
              <p:cNvPr id="91" name="Picture 90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CA907C35-008D-41FC-AA3B-6324FA24AE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871076" y="3655943"/>
                <a:ext cx="461665" cy="46166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8219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0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500"/>
                            </p:stCondLst>
                            <p:childTnLst>
                              <p:par>
                                <p:cTn id="6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500"/>
                            </p:stCondLst>
                            <p:childTnLst>
                              <p:par>
                                <p:cTn id="7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500"/>
                            </p:stCondLst>
                            <p:childTnLst>
                              <p:par>
                                <p:cTn id="8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0"/>
                            </p:stCondLst>
                            <p:childTnLst>
                              <p:par>
                                <p:cTn id="8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98" grpId="0" animBg="1"/>
      <p:bldP spid="65" grpId="0" animBg="1"/>
      <p:bldP spid="66" grpId="0" animBg="1"/>
      <p:bldP spid="97" grpId="0" animBg="1"/>
      <p:bldP spid="99" grpId="0" animBg="1"/>
      <p:bldP spid="10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04785CF6-D31C-45BB-9175-27F07F87E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solidFill>
                  <a:schemeClr val="bg2"/>
                </a:solidFill>
              </a:rPr>
              <a:t>Customer Information Across Channel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3A0C10-2522-4964-9BE0-5A55EF4F1A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82496" y="1068199"/>
            <a:ext cx="8339461" cy="477805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59E3EA0-B6A0-477A-B4BA-726B3F66CD96}"/>
              </a:ext>
            </a:extLst>
          </p:cNvPr>
          <p:cNvSpPr txBox="1">
            <a:spLocks/>
          </p:cNvSpPr>
          <p:nvPr/>
        </p:nvSpPr>
        <p:spPr>
          <a:xfrm>
            <a:off x="-68933" y="2351588"/>
            <a:ext cx="10757098" cy="672415"/>
          </a:xfrm>
          <a:prstGeom prst="rect">
            <a:avLst/>
          </a:prstGeom>
        </p:spPr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21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endParaRPr lang="en-US" sz="4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4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C47E84D-2C6F-4106-85FE-6E3C5E3FEFD1}"/>
              </a:ext>
            </a:extLst>
          </p:cNvPr>
          <p:cNvSpPr txBox="1">
            <a:spLocks/>
          </p:cNvSpPr>
          <p:nvPr/>
        </p:nvSpPr>
        <p:spPr>
          <a:xfrm>
            <a:off x="1091261" y="1067338"/>
            <a:ext cx="10009478" cy="1151592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200" kern="800" spc="-15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chemeClr val="tx2"/>
                </a:solidFill>
              </a:rPr>
              <a:t>Journey of </a:t>
            </a:r>
            <a:r>
              <a:rPr lang="en-US" sz="4000"/>
              <a:t>Multi-Channel Experience </a:t>
            </a:r>
            <a:r>
              <a:rPr lang="en-US" sz="4000">
                <a:solidFill>
                  <a:schemeClr val="tx2"/>
                </a:solidFill>
              </a:rPr>
              <a:t>towards</a:t>
            </a:r>
            <a:r>
              <a:rPr lang="en-US" sz="4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4000"/>
              <a:t>Omni-Channel Experien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41D56C3-1C2D-497E-8E75-422080BCA634}"/>
              </a:ext>
            </a:extLst>
          </p:cNvPr>
          <p:cNvSpPr/>
          <p:nvPr/>
        </p:nvSpPr>
        <p:spPr bwMode="auto">
          <a:xfrm>
            <a:off x="5434663" y="2660905"/>
            <a:ext cx="5528994" cy="2816352"/>
          </a:xfrm>
          <a:prstGeom prst="roundRect">
            <a:avLst>
              <a:gd name="adj" fmla="val 7926"/>
            </a:avLst>
          </a:prstGeom>
          <a:solidFill>
            <a:srgbClr val="D9D9D9">
              <a:alpha val="6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4DC3222-B886-4FC0-B1E7-9A9C5488ADD5}"/>
              </a:ext>
            </a:extLst>
          </p:cNvPr>
          <p:cNvSpPr/>
          <p:nvPr/>
        </p:nvSpPr>
        <p:spPr>
          <a:xfrm>
            <a:off x="5718203" y="4165144"/>
            <a:ext cx="481568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2"/>
                </a:solidFill>
              </a:rPr>
              <a:t>Increased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>
                <a:solidFill>
                  <a:schemeClr val="accent1"/>
                </a:solidFill>
              </a:rPr>
              <a:t>Repeat Busines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2"/>
                </a:solidFill>
              </a:rPr>
              <a:t>Improved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>
                <a:solidFill>
                  <a:schemeClr val="accent1"/>
                </a:solidFill>
              </a:rPr>
              <a:t>Average Order Value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>
                <a:solidFill>
                  <a:schemeClr val="tx2"/>
                </a:solidFill>
              </a:rPr>
              <a:t>(AOV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>
                <a:solidFill>
                  <a:schemeClr val="tx2"/>
                </a:solidFill>
              </a:rPr>
              <a:t>Better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>
                <a:solidFill>
                  <a:schemeClr val="accent1"/>
                </a:solidFill>
              </a:rPr>
              <a:t>Life-Time-Value</a:t>
            </a: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>
                <a:solidFill>
                  <a:schemeClr val="tx2"/>
                </a:solidFill>
              </a:rPr>
              <a:t>(LTV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EF61B5-332E-490E-9396-9943A60DD444}"/>
              </a:ext>
            </a:extLst>
          </p:cNvPr>
          <p:cNvSpPr/>
          <p:nvPr/>
        </p:nvSpPr>
        <p:spPr>
          <a:xfrm>
            <a:off x="1791091" y="3668374"/>
            <a:ext cx="414294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>
                <a:solidFill>
                  <a:schemeClr val="accent1"/>
                </a:solidFill>
              </a:rPr>
              <a:t>Customer Success </a:t>
            </a:r>
            <a:r>
              <a:rPr lang="en-US" sz="300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2E5869-B717-45D9-B42F-29F92D505FEC}"/>
              </a:ext>
            </a:extLst>
          </p:cNvPr>
          <p:cNvSpPr/>
          <p:nvPr/>
        </p:nvSpPr>
        <p:spPr>
          <a:xfrm>
            <a:off x="5590187" y="2768827"/>
            <a:ext cx="360927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>
                <a:solidFill>
                  <a:schemeClr val="tx2"/>
                </a:solidFill>
              </a:rPr>
              <a:t>Customer Outcomes </a:t>
            </a:r>
          </a:p>
          <a:p>
            <a:pPr algn="ctr"/>
            <a:r>
              <a:rPr lang="en-US" sz="2800">
                <a:solidFill>
                  <a:schemeClr val="tx2"/>
                </a:solidFill>
              </a:rPr>
              <a:t>+ </a:t>
            </a:r>
          </a:p>
          <a:p>
            <a:pPr algn="ctr"/>
            <a:r>
              <a:rPr lang="en-US" sz="2800">
                <a:solidFill>
                  <a:schemeClr val="tx2"/>
                </a:solidFill>
              </a:rPr>
              <a:t>Customer Experience</a:t>
            </a:r>
          </a:p>
        </p:txBody>
      </p:sp>
    </p:spTree>
    <p:extLst>
      <p:ext uri="{BB962C8B-B14F-4D97-AF65-F5344CB8AC3E}">
        <p14:creationId xmlns:p14="http://schemas.microsoft.com/office/powerpoint/2010/main" val="2955407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pbs.twimg.com/media/DqPkoJDWoAAKHv3.jpg:large">
            <a:extLst>
              <a:ext uri="{FF2B5EF4-FFF2-40B4-BE49-F238E27FC236}">
                <a16:creationId xmlns:a16="http://schemas.microsoft.com/office/drawing/2014/main" id="{E48F0137-2D47-4B62-B2D5-B05153812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380" y="277916"/>
            <a:ext cx="9909238" cy="4919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031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020D919-4D16-4B5D-B531-DEB5B3E97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11801" y="2914201"/>
            <a:ext cx="714698" cy="8951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81EFF0E-D535-4D3F-BBF8-D405E6CEC6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23608" y="2080518"/>
            <a:ext cx="649726" cy="1205602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9BD5D2F-26E0-4BD5-A1C6-23E951899E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14521" y="1361806"/>
            <a:ext cx="541438" cy="135720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3E4084E-0B3A-4B03-B4FA-C26A67B98C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3207" y="665557"/>
            <a:ext cx="606410" cy="142217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7B5B40BB-4B59-47E1-A44C-FF112E69BD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73346" y="272782"/>
            <a:ext cx="613630" cy="1465492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5B4D85D-6DB3-40A0-967D-D908E1F9DB84}"/>
              </a:ext>
            </a:extLst>
          </p:cNvPr>
          <p:cNvCxnSpPr>
            <a:cxnSpLocks/>
          </p:cNvCxnSpPr>
          <p:nvPr/>
        </p:nvCxnSpPr>
        <p:spPr>
          <a:xfrm flipV="1">
            <a:off x="1722804" y="2821887"/>
            <a:ext cx="10127820" cy="2659467"/>
          </a:xfrm>
          <a:prstGeom prst="straightConnector1">
            <a:avLst/>
          </a:prstGeom>
          <a:ln w="146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269E2150-BED5-4D13-97DD-C9EA26AE4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M Then &amp; N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67A859-276B-40B5-AFC7-93DC7177209F}"/>
              </a:ext>
            </a:extLst>
          </p:cNvPr>
          <p:cNvSpPr txBox="1"/>
          <p:nvPr/>
        </p:nvSpPr>
        <p:spPr>
          <a:xfrm>
            <a:off x="5245198" y="3583899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D9D9D9"/>
                </a:highlight>
              </a:rPr>
              <a:t>CRM on Premises</a:t>
            </a:r>
          </a:p>
        </p:txBody>
      </p:sp>
      <p:pic>
        <p:nvPicPr>
          <p:cNvPr id="22" name="Picture 2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CFB7C6F3-3443-435B-BF50-1EA7F5E31E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02305" y="4051161"/>
            <a:ext cx="762106" cy="762106"/>
          </a:xfrm>
          <a:prstGeom prst="rect">
            <a:avLst/>
          </a:prstGeom>
        </p:spPr>
      </p:pic>
      <p:pic>
        <p:nvPicPr>
          <p:cNvPr id="26" name="Picture 2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56498647-E5C0-4148-9D13-7E9725EA63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85035" y="3429000"/>
            <a:ext cx="1003745" cy="1003745"/>
          </a:xfrm>
          <a:prstGeom prst="rect">
            <a:avLst/>
          </a:prstGeom>
        </p:spPr>
      </p:pic>
      <p:pic>
        <p:nvPicPr>
          <p:cNvPr id="28" name="Picture 2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6785B94-FCD2-41B1-A26B-5BB5BB05728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82762" y="2868916"/>
            <a:ext cx="834407" cy="834407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C55E85C-BCD5-4EED-890F-88EF7D4AB4B2}"/>
              </a:ext>
            </a:extLst>
          </p:cNvPr>
          <p:cNvSpPr txBox="1"/>
          <p:nvPr/>
        </p:nvSpPr>
        <p:spPr>
          <a:xfrm>
            <a:off x="3191238" y="4162818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D9D9D9"/>
                </a:highlight>
              </a:rPr>
              <a:t>Databas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75CEF6-BA19-492B-BD04-07FC37D58499}"/>
              </a:ext>
            </a:extLst>
          </p:cNvPr>
          <p:cNvSpPr txBox="1"/>
          <p:nvPr/>
        </p:nvSpPr>
        <p:spPr>
          <a:xfrm>
            <a:off x="1197561" y="4750206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D9D9D9"/>
                </a:highlight>
              </a:rPr>
              <a:t>Ledger</a:t>
            </a:r>
          </a:p>
        </p:txBody>
      </p:sp>
      <p:pic>
        <p:nvPicPr>
          <p:cNvPr id="32" name="Picture 3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563F65CD-276E-4BC2-845E-84FFA230A91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809980" y="1738274"/>
            <a:ext cx="906482" cy="90648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012A3B6-2EF7-47C6-BD57-1CA8C466B917}"/>
              </a:ext>
            </a:extLst>
          </p:cNvPr>
          <p:cNvSpPr txBox="1"/>
          <p:nvPr/>
        </p:nvSpPr>
        <p:spPr>
          <a:xfrm>
            <a:off x="7436390" y="3073934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D9D9D9"/>
                </a:highlight>
              </a:rPr>
              <a:t>CRM on Mobile</a:t>
            </a:r>
          </a:p>
        </p:txBody>
      </p:sp>
      <p:pic>
        <p:nvPicPr>
          <p:cNvPr id="41" name="Picture 4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22125E6-BC5E-4966-B29F-DD5DB3272EB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27355" y="2299814"/>
            <a:ext cx="926074" cy="92607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BB3A0B9D-0A74-451C-AD03-D0BE158A1AA7}"/>
              </a:ext>
            </a:extLst>
          </p:cNvPr>
          <p:cNvSpPr txBox="1"/>
          <p:nvPr/>
        </p:nvSpPr>
        <p:spPr>
          <a:xfrm>
            <a:off x="9359675" y="2419340"/>
            <a:ext cx="1791338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 err="1">
                <a:highlight>
                  <a:srgbClr val="D9D9D9"/>
                </a:highlight>
              </a:rPr>
              <a:t>Saas</a:t>
            </a:r>
            <a:r>
              <a:rPr lang="en-US" sz="1400" dirty="0">
                <a:highlight>
                  <a:srgbClr val="D9D9D9"/>
                </a:highlight>
              </a:rPr>
              <a:t> / CRM On Clou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388F3A-AEC2-46FB-A494-0B42FC8D04BA}"/>
              </a:ext>
            </a:extLst>
          </p:cNvPr>
          <p:cNvSpPr txBox="1"/>
          <p:nvPr/>
        </p:nvSpPr>
        <p:spPr>
          <a:xfrm>
            <a:off x="2689366" y="5214439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00D9C3"/>
                </a:highlight>
              </a:rPr>
              <a:t>Data Collec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F4ED7FC-4301-47AF-A18E-B46B8C021E22}"/>
              </a:ext>
            </a:extLst>
          </p:cNvPr>
          <p:cNvSpPr txBox="1"/>
          <p:nvPr/>
        </p:nvSpPr>
        <p:spPr>
          <a:xfrm>
            <a:off x="6625262" y="4231128"/>
            <a:ext cx="1791338" cy="6832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00D9C3"/>
                </a:highlight>
              </a:rPr>
              <a:t>Data Collabor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4F439D-962F-45C7-9FE9-BB5BAB68AB46}"/>
              </a:ext>
            </a:extLst>
          </p:cNvPr>
          <p:cNvSpPr txBox="1"/>
          <p:nvPr/>
        </p:nvSpPr>
        <p:spPr>
          <a:xfrm>
            <a:off x="9739335" y="3394962"/>
            <a:ext cx="179133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highlight>
                  <a:srgbClr val="00D9C3"/>
                </a:highlight>
              </a:rPr>
              <a:t>Data Intelligence</a:t>
            </a:r>
          </a:p>
        </p:txBody>
      </p:sp>
    </p:spTree>
    <p:extLst>
      <p:ext uri="{BB962C8B-B14F-4D97-AF65-F5344CB8AC3E}">
        <p14:creationId xmlns:p14="http://schemas.microsoft.com/office/powerpoint/2010/main" val="32754964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Columbus Corp PPT Template">
  <a:themeElements>
    <a:clrScheme name="Custom 42">
      <a:dk1>
        <a:srgbClr val="000000"/>
      </a:dk1>
      <a:lt1>
        <a:srgbClr val="FFFFFF"/>
      </a:lt1>
      <a:dk2>
        <a:srgbClr val="E6E7E8"/>
      </a:dk2>
      <a:lt2>
        <a:srgbClr val="FFFFFF"/>
      </a:lt2>
      <a:accent1>
        <a:srgbClr val="F58220"/>
      </a:accent1>
      <a:accent2>
        <a:srgbClr val="58595B"/>
      </a:accent2>
      <a:accent3>
        <a:srgbClr val="939598"/>
      </a:accent3>
      <a:accent4>
        <a:srgbClr val="BCBEC0"/>
      </a:accent4>
      <a:accent5>
        <a:srgbClr val="939598"/>
      </a:accent5>
      <a:accent6>
        <a:srgbClr val="58595B"/>
      </a:accent6>
      <a:hlink>
        <a:srgbClr val="2F8299"/>
      </a:hlink>
      <a:folHlink>
        <a:srgbClr val="8C8C8C"/>
      </a:folHlink>
    </a:clrScheme>
    <a:fontScheme name="Custom 1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6 Columbus Corporate PowerPoint Template_Final 070517" id="{CEA4CF20-5B8C-4B43-AE12-763E690D16B2}" vid="{22D70109-96E7-4FD7-AD43-4BA7AC3579D6}"/>
    </a:ext>
  </a:extLst>
</a:theme>
</file>

<file path=ppt/theme/theme2.xml><?xml version="1.0" encoding="utf-8"?>
<a:theme xmlns:a="http://schemas.openxmlformats.org/drawingml/2006/main" name="Sameer">
  <a:themeElements>
    <a:clrScheme name="Custom 2">
      <a:dk1>
        <a:srgbClr val="2B2663"/>
      </a:dk1>
      <a:lt1>
        <a:srgbClr val="FFFFFF"/>
      </a:lt1>
      <a:dk2>
        <a:srgbClr val="3F454F"/>
      </a:dk2>
      <a:lt2>
        <a:srgbClr val="EAEAEA"/>
      </a:lt2>
      <a:accent1>
        <a:srgbClr val="84BD00"/>
      </a:accent1>
      <a:accent2>
        <a:srgbClr val="001E60"/>
      </a:accent2>
      <a:accent3>
        <a:srgbClr val="E4002B"/>
      </a:accent3>
      <a:accent4>
        <a:srgbClr val="FFB81C"/>
      </a:accent4>
      <a:accent5>
        <a:srgbClr val="3D1B52"/>
      </a:accent5>
      <a:accent6>
        <a:srgbClr val="F2C818"/>
      </a:accent6>
      <a:hlink>
        <a:srgbClr val="655DC0"/>
      </a:hlink>
      <a:folHlink>
        <a:srgbClr val="0095C8"/>
      </a:folHlink>
    </a:clrScheme>
    <a:fontScheme name="Custom 1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eer" id="{DCE97ED0-3900-4147-891E-41C99AC87ED2}" vid="{57F4B738-F87D-4A37-A86F-518C0A756FB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A94974AEE317489C72F7664C1FE086" ma:contentTypeVersion="2" ma:contentTypeDescription="Create a new document." ma:contentTypeScope="" ma:versionID="f0fc6dad1c4d88b08e893e9291486ac3">
  <xsd:schema xmlns:xsd="http://www.w3.org/2001/XMLSchema" xmlns:xs="http://www.w3.org/2001/XMLSchema" xmlns:p="http://schemas.microsoft.com/office/2006/metadata/properties" xmlns:ns2="6b380017-8184-425f-9421-a0a96242a255" targetNamespace="http://schemas.microsoft.com/office/2006/metadata/properties" ma:root="true" ma:fieldsID="b99d60c5c288f532df218d0ed09a6bb5" ns2:_="">
    <xsd:import namespace="6b380017-8184-425f-9421-a0a96242a2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380017-8184-425f-9421-a0a96242a2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C848437-97CB-4229-9083-2DC182B95F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3650B9-5555-48E0-949E-2E186D32C911}">
  <ds:schemaRefs>
    <ds:schemaRef ds:uri="6b380017-8184-425f-9421-a0a96242a2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B446170-F730-4B85-BA23-A9259E48985A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</TotalTime>
  <Words>436</Words>
  <Application>Microsoft Office PowerPoint</Application>
  <PresentationFormat>Widescreen</PresentationFormat>
  <Paragraphs>130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rial</vt:lpstr>
      <vt:lpstr>Calibri</vt:lpstr>
      <vt:lpstr>Calibri Light</vt:lpstr>
      <vt:lpstr>Consolas</vt:lpstr>
      <vt:lpstr>Montserrat Light</vt:lpstr>
      <vt:lpstr>Roboto Light</vt:lpstr>
      <vt:lpstr>Segoe UI</vt:lpstr>
      <vt:lpstr>Segoe UI</vt:lpstr>
      <vt:lpstr>segoe ui black</vt:lpstr>
      <vt:lpstr>Wingdings</vt:lpstr>
      <vt:lpstr>Columbus Corp PPT Template</vt:lpstr>
      <vt:lpstr>Sameer</vt:lpstr>
      <vt:lpstr>think-cell Slide</vt:lpstr>
      <vt:lpstr>PowerPoint Presentation</vt:lpstr>
      <vt:lpstr>PowerPoint Presentation</vt:lpstr>
      <vt:lpstr>PowerPoint Presentation</vt:lpstr>
      <vt:lpstr>PowerPoint Presentation</vt:lpstr>
      <vt:lpstr>Brand – Customer Communication Maturity </vt:lpstr>
      <vt:lpstr>Customer Information Across Channels</vt:lpstr>
      <vt:lpstr>PowerPoint Presentation</vt:lpstr>
      <vt:lpstr>PowerPoint Presentation</vt:lpstr>
      <vt:lpstr>CRM Then &amp; Now</vt:lpstr>
      <vt:lpstr>The Standard CRM</vt:lpstr>
      <vt:lpstr>The Future!</vt:lpstr>
      <vt:lpstr>Why Dynamics 365 ?</vt:lpstr>
      <vt:lpstr>Customer Experience</vt:lpstr>
      <vt:lpstr>D365 CE – Key to Customer Experience</vt:lpstr>
      <vt:lpstr>Limitations</vt:lpstr>
      <vt:lpstr>Upcom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overview (hidden)</dc:title>
  <dc:creator>Ankit Shinde (ANSH.GCO)</dc:creator>
  <cp:lastModifiedBy>Krishnam Raju Nagapuri (KRNA.CX)</cp:lastModifiedBy>
  <cp:revision>24</cp:revision>
  <dcterms:created xsi:type="dcterms:W3CDTF">1601-01-01T00:00:00Z</dcterms:created>
  <dcterms:modified xsi:type="dcterms:W3CDTF">2019-03-04T14:4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A94974AEE317489C72F7664C1FE086</vt:lpwstr>
  </property>
</Properties>
</file>